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2" r:id="rId3"/>
    <p:sldMasterId id="2147483684" r:id="rId4"/>
  </p:sldMasterIdLst>
  <p:notesMasterIdLst>
    <p:notesMasterId r:id="rId19"/>
  </p:notesMasterIdLst>
  <p:handoutMasterIdLst>
    <p:handoutMasterId r:id="rId20"/>
  </p:handoutMasterIdLst>
  <p:sldIdLst>
    <p:sldId id="266" r:id="rId5"/>
    <p:sldId id="273" r:id="rId6"/>
    <p:sldId id="274" r:id="rId7"/>
    <p:sldId id="275" r:id="rId8"/>
    <p:sldId id="267" r:id="rId9"/>
    <p:sldId id="268" r:id="rId10"/>
    <p:sldId id="269" r:id="rId11"/>
    <p:sldId id="265" r:id="rId12"/>
    <p:sldId id="261" r:id="rId13"/>
    <p:sldId id="263" r:id="rId14"/>
    <p:sldId id="271" r:id="rId15"/>
    <p:sldId id="272" r:id="rId16"/>
    <p:sldId id="270" r:id="rId17"/>
    <p:sldId id="27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875D"/>
    <a:srgbClr val="FE1003"/>
    <a:srgbClr val="36638D"/>
    <a:srgbClr val="ABD1DE"/>
    <a:srgbClr val="3A38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3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73" y="48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200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ABD1D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3C-4747-BABF-E7DB3D58F9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E875D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3C-4747-BABF-E7DB3D58F9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A385F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3C-4747-BABF-E7DB3D58F9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7194224"/>
        <c:axId val="1012234320"/>
      </c:barChart>
      <c:catAx>
        <c:axId val="1067194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12234320"/>
        <c:crosses val="autoZero"/>
        <c:auto val="1"/>
        <c:lblAlgn val="ctr"/>
        <c:lblOffset val="100"/>
        <c:noMultiLvlLbl val="0"/>
      </c:catAx>
      <c:valAx>
        <c:axId val="10122343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671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23FF5DA-F7E4-C1B3-15BB-D85CE5D9DC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47BE20-8D46-CE19-B15A-148F9396E1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4390B-C798-4C41-8DB7-88CA4764DDED}" type="datetimeFigureOut">
              <a:rPr lang="en-ID" smtClean="0"/>
              <a:t>19/09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D92FDF-A45E-960B-71B3-F4168FE1E6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E60D0-6FD5-2A39-C36A-FC08096F70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7AF11-04C9-4E46-8C2B-BB248E06E38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0920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08DE9F-1FA1-4BA3-9F54-8442D0E6863A}" type="datetimeFigureOut">
              <a:rPr lang="en-ID" smtClean="0"/>
              <a:t>19/09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672D5-475D-42A0-A31A-C9AB176F60B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5049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vladdeep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-insurance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hnschno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7creatives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ansonluu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ichaeljinphoto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-accident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ristianbuehner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yoelpeterson?utm_source=unsplash&amp;utm_medium=referral&amp;utm_content=creditCopyText" TargetMode="External"/><Relationship Id="rId5" Type="http://schemas.openxmlformats.org/officeDocument/2006/relationships/hyperlink" Target="https://unsplash.com/@princearkman?utm_source=unsplash&amp;utm_medium=referral&amp;utm_content=creditCopyText" TargetMode="External"/><Relationship Id="rId4" Type="http://schemas.openxmlformats.org/officeDocument/2006/relationships/hyperlink" Target="https://unsplash.com/s/photos/potrait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Vlad Deep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656637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hn </a:t>
            </a:r>
            <a:r>
              <a:rPr lang="en-US" dirty="0" err="1">
                <a:hlinkClick r:id="rId3"/>
              </a:rPr>
              <a:t>Schnobric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5340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unter Newt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47605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anson Lu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620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ichael </a:t>
            </a:r>
            <a:r>
              <a:rPr lang="en-US" dirty="0" err="1">
                <a:hlinkClick r:id="rId3"/>
              </a:rPr>
              <a:t>Ji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15419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sd/silver-sedan-car_3993591.htm#page=3&amp;query=car&amp;position=18&amp;from_view=search"&gt;Image by rawpixel.com&lt;/a&gt; on </a:t>
            </a:r>
            <a:r>
              <a:rPr lang="en-US" dirty="0" err="1"/>
              <a:t>Freepik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896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zI_R7sUQVF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67326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0861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/luxury-sports-car-back-half-side-view_15572903.htm#query=car&amp;position=10&amp;from_view=search"&gt;Image by </a:t>
            </a:r>
            <a:r>
              <a:rPr lang="en-US" dirty="0" err="1"/>
              <a:t>svstudioart</a:t>
            </a:r>
            <a:r>
              <a:rPr lang="en-US" dirty="0"/>
              <a:t>&lt;/a&gt; on </a:t>
            </a:r>
            <a:r>
              <a:rPr lang="en-US" dirty="0" err="1"/>
              <a:t>Freepik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19680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photo/mechanic-preparing-check-list_1005746.htm#query=car%20checklist&amp;position=0&amp;from_view=search"&gt;Image by </a:t>
            </a:r>
            <a:r>
              <a:rPr lang="en-US" dirty="0" err="1"/>
              <a:t>peoplecreations</a:t>
            </a:r>
            <a:r>
              <a:rPr lang="en-US" dirty="0"/>
              <a:t>&lt;/a&gt; on </a:t>
            </a:r>
            <a:r>
              <a:rPr lang="en-US" dirty="0" err="1"/>
              <a:t>Freepik</a:t>
            </a:r>
            <a:endParaRPr lang="en-US" dirty="0"/>
          </a:p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christian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buehn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Prince </a:t>
            </a:r>
            <a:r>
              <a:rPr lang="en-US" dirty="0" err="1">
                <a:hlinkClick r:id="rId5"/>
              </a:rPr>
              <a:t>Akach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6"/>
              </a:rPr>
              <a:t>Yoel</a:t>
            </a:r>
            <a:r>
              <a:rPr lang="en-US" dirty="0">
                <a:hlinkClick r:id="rId6"/>
              </a:rPr>
              <a:t> Peters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81119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7F229-BDD9-AAE4-8814-196D8E1945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AE1767-1EED-7A5A-FEF0-3758EFC151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FAFE49-09F8-9199-9D31-BAE5C6074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416B0FA-5C01-46E5-8A53-EBE2C38F0218}" type="datetime1">
              <a:rPr lang="en-ID" smtClean="0"/>
              <a:t>19/09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95EC2F-CE23-E2FE-EC1A-34A3DC917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081EDF-FD45-21C2-E8F3-0A489E49A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13732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0C032-C873-B8B0-AE1A-46DF50AFF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70F14A-EF2A-9144-C724-2FCA75DD4D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D6472-8100-8093-8096-5A0FB7D529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CEF92-EC33-43F6-B0BA-C5948C2EE05B}" type="datetime1">
              <a:rPr lang="en-ID" smtClean="0"/>
              <a:t>19/09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00FFC-F65D-352B-4E59-B0B3C75DC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395D6-ADB1-2745-527E-E2214F1F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31735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7B5D93-3BC7-83B4-3234-2397586C50E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E8E95C-032A-4360-03BE-18D1A02607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DA4B7-96E7-E23D-AB1C-9FFA40D7AB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1BE1283-7723-4DA9-A8B6-27CEB29EB969}" type="datetime1">
              <a:rPr lang="en-ID" smtClean="0"/>
              <a:t>19/09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FF1FC-883B-8227-22CE-B1BE81DE7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60E43F-68D7-432C-AEE2-EA325997F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243173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040C6-1CCA-BD21-4193-5D2B3B2184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E7B2B9-ADFC-366A-120A-5E960E9429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758AE6-9BFF-8032-3588-FE841E3C5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C553-8991-44D5-A09C-3886C7794903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1B97F4-D5D0-F127-A451-64D4F38F4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9739C-378A-9F91-5CC8-31E3B0DAD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453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DFB26-1C5F-8E2A-20F1-4507FB266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9D1280-9473-0FC2-166F-79B4D1334F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83D599-F388-C0C9-B52B-445983CF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73ABE-8B80-4292-B6F4-63E09D260581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500D6-D255-2BB3-7B94-665A2C4E8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6EAF4-1283-0F34-0260-CC885DA41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493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696B0-62F7-5511-6D15-801EDA0F4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205C5-610E-FEDC-6F1A-E0AE5167E9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528E1-9C13-2D03-E503-587D50B3D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6326E-A811-49B9-B8E6-E79316152500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F02D6-BA84-965C-69C0-3FAE8257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D669E7-C93B-192E-CEA4-5101CDDFA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470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9087A5-BD71-607B-F0FF-E9CFD042E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EA6BBB-92F2-BACD-BF43-CC364D32C3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B8C504-DE3D-42CE-7075-09DBD2E805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1FA00A-E6A4-728E-A087-5E5D331DCE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A53B4-42E9-449F-B0A0-986538D657EB}" type="datetime1">
              <a:rPr lang="en-ID" smtClean="0"/>
              <a:t>19/0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397193-9AF6-266F-5652-2AD3808ED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8040D-9725-3769-AA1A-427A3541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4778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2E8B8-3DCC-19EC-9D70-89ADE6B8A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29330F-F3E7-EC59-3AFD-CE34E8604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5F7514-09F4-68B6-7EDD-A1D26B5227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239BF5-553F-143F-4758-531DB5E171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45AD77-C70C-4805-E073-7C9037063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7F4339-73EF-BE89-A720-4923FF259B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F70F2-A3A4-4FF8-8B91-329E24A30F02}" type="datetime1">
              <a:rPr lang="en-ID" smtClean="0"/>
              <a:t>19/0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89967A-6530-E9BA-6EB1-0FA0E8784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2A19E3-CC89-2581-3FF4-E4A2D1602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0144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7F3EE-0459-29B9-6406-F406FCE32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2605C7-1960-0F79-2DA1-72F664816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5BE1-E534-4F4A-A832-6FC2F581BA0E}" type="datetime1">
              <a:rPr lang="en-ID" smtClean="0"/>
              <a:t>19/0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220E36-D5AA-8725-1E71-A2C243E2F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BBD239-19AB-3ED1-2591-9E84BD2DA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836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1D6984-0E90-692D-F741-97C2CC5B7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177BC-4372-44F5-82CD-79AA2D4F4EC1}" type="datetime1">
              <a:rPr lang="en-ID" smtClean="0"/>
              <a:t>19/0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63A4B2-B5FF-37AE-9B3C-63BFF5400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9FF00B-D239-4973-966B-49CAAF651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6431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C9A1E3-80B8-2E74-6479-31936EB0C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D34C86-64FC-6813-F5EE-675B498DAF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DCB1F2-6ECF-1ACF-E350-5F5CB48729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A4879D-7A1B-A379-64E6-81CE9EC944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D7D2D-CF5F-4279-B522-24B94D4AEBA5}" type="datetime1">
              <a:rPr lang="en-ID" smtClean="0"/>
              <a:t>19/0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10A02D-0476-6567-DE83-2E0CE080D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0B52CD-EBF2-07B4-9BDB-91EAB8110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54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3DA40-983C-474F-4F8C-711323A51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0A174E-E252-06E7-8758-2B376E895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D77C24-86B8-F63C-2F5E-E5742E07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7D2EA6C-EC8C-4806-8704-D82B1CC17406}" type="datetime1">
              <a:rPr lang="en-ID" smtClean="0"/>
              <a:t>19/09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C7CD16-29C2-593C-6446-D3C91A6B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C76E0-E4EC-46F8-9A65-B5B45B0CC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09550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63273-39FB-9081-56FD-B29080231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370079-116A-A0D6-8BC4-C3EB688758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22131B-7166-5159-79AB-25CB10BC7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1886F8-9143-B009-43D9-0B8C56C47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A9A20-9054-46F8-BFBF-ABC9AE496B5C}" type="datetime1">
              <a:rPr lang="en-ID" smtClean="0"/>
              <a:t>19/0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E0DDD4-39B9-1D92-ED54-05205EB59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8BA310-E646-6D54-AF5C-DB8B138A2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301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85FC8-A312-1342-8889-9788D3D2A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77BC329-DC7E-C76F-B310-A7C98E9346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839243-36CC-A44E-21F0-5919FA5DB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66657-D655-4AB3-9074-B583ECAAD404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64666-5B31-9BAE-13BD-149AC1943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FF4CB6-A366-D4D5-B7EC-B0A103AA8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3234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23E535C-8DCF-CBC7-3135-5476891DD9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48A148-62B6-5E0A-4D80-0D5B7F42B5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98069-7B3A-5F30-8259-5E2518DC4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CFBC1-8CCA-4812-98BA-696F85B3F7B0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13891A-FAC2-6D66-7152-FF9C7DC40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CC056-1368-939C-BB0B-D682E3C02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107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32A25-0BC4-4367-800E-88BFCA0145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D0E4FA-6BC4-4556-AA14-DEB014621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169B0F-7EC4-4DA2-8ED1-6337F83EEA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A085A9B-E26B-43F8-BD8C-36BFA5BB926B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09CB5-3D1B-4FFB-9CA5-E956DA26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3816-1879-45E9-822D-85E2AD7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286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39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83502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50" y="1356852"/>
            <a:ext cx="11417300" cy="4820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BE96C6-1843-4457-BC07-9141BB4CCF64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9938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980D2-C022-459E-A1F1-87941AA5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3E93C-D9EC-4D6A-893F-F9844785F7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B125F9-7FB0-4D24-8F71-11CA96ED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3FA33F-2CFE-4C4B-89A1-BD1D23843ABA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7FD5B-8E8B-493B-B109-84FDAA6F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D5182-C9EA-499D-9300-A5EBD215C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4417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5CA62-5EBB-4C0A-B3D7-C7967E091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E9E1-24C5-4DAC-8EB4-9C46DDC8C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7FE3EA-0946-43A4-ADDD-B62FB5521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DD65F-A052-4E05-8923-AA91EB3D49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2346F9-27CA-46E1-8BC9-3CE1718583F9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AAF469-53E3-41B5-ADF1-28FC6890E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884C4-C36F-4D43-8B58-DB23927B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28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84023-8FE7-47B2-B7A1-4971C4FD9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99207-2FDF-49B9-BA7F-94E519CB1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CD0E2-AE2E-4443-8070-DDD06B04D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B5921C-733C-4CF8-AB7B-8D46D79680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6CE057-98D2-4130-AF46-E03086255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3BDBAF-3E85-4DAA-9F1E-D9C930A9D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8C3571-EFF5-4E7C-91D1-F1195BEC271B}" type="datetime1">
              <a:rPr lang="en-US" smtClean="0"/>
              <a:t>9/1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AFC847-2715-4243-8289-D800C0F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80A1FD-7A6B-4F5B-81E9-BB3B8C7E6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94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72B28-54E4-4C99-BF0E-B33634A0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1B56EF-99A8-4B5F-9416-DAC4B3477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82D993-F377-4AAF-8670-6E050E3F694E}" type="datetime1">
              <a:rPr lang="en-US" smtClean="0"/>
              <a:t>9/1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708689-2A33-4836-9C59-74BB4387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FCAC0-2122-479C-9BCE-C1CDB80F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814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3E64D6-7065-4269-B1D3-441F25A3B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F33F691-6999-434A-88D5-09942285D5CB}" type="datetime1">
              <a:rPr lang="en-US" smtClean="0"/>
              <a:t>9/1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B30C3A-EA5E-4657-95CA-9B086221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9CBDC-D80F-47CC-B4AF-D4B76B58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560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B15BA-FDB0-DB22-2E4B-0FD831663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4B022-3CF2-46AA-1F5F-A42C10D55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6C1F8B-8B5C-E8D6-6BEA-D9A6451E0E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C8854F-A15A-4755-BE83-7B2C8BE70586}" type="datetime1">
              <a:rPr lang="en-ID" smtClean="0"/>
              <a:t>19/09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297496-6B03-F2D4-E13F-18851C11B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605D7B-523F-7750-2914-27472744E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193022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82F8B-0689-4E3C-961F-F117033CD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9D4227-540D-483C-B64B-DA43DAF20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4CCA32-AE3E-479E-9979-3AFBDF95AF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832154-34CE-4849-8DFE-840F63FD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A1BE52-553F-46F4-AE11-863FD67EA492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ADC88D-CCD6-4897-8C89-99A2AEA49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6D7FCD-B015-452F-BEA0-3FB4BC9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7000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FF0C1-CB41-42E9-A5D3-B32D4A7CD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7D0B6-B34A-4434-9B49-42484457E8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1BC63-447A-47E5-9868-60CE07485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A5EE7-582A-4D1E-BDD2-F5397EA315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EF53246-3525-4440-8E2E-A28CFDBCA39B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967F00-AB59-4DC6-8AB2-23E75CB3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EF9295-41A4-4C61-96C4-760B4654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548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47C99-D598-4AE0-896E-1C9D65B7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20C0C6-6FC8-40F8-AFA5-ADA1E4417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E903-27DA-44D7-AEFA-9628FC7E5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1892B3-6194-4626-8D5D-C1B1652730BB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04B9-E95B-40DE-829A-E8315FB8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06CC9-E391-4937-905B-FE4B1E752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9406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3BDBA2-440A-47F4-9043-F850A08A2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07B311-5DC5-4E62-B219-DE5897D31E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40E7F-620C-418F-84C6-30B3A156C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BC82BF5-E2BD-4206-95D4-3AE02BFB211A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7F132-C2B3-4CEC-B9B7-8ADDDA570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83128-B7F4-4641-9062-2842F1E95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8582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32A25-0BC4-4367-800E-88BFCA0145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D0E4FA-6BC4-4556-AA14-DEB014621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169B0F-7EC4-4DA2-8ED1-6337F83EEA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A085A9B-E26B-43F8-BD8C-36BFA5BB926B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09CB5-3D1B-4FFB-9CA5-E956DA26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3816-1879-45E9-822D-85E2AD7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6816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83502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50" y="1356852"/>
            <a:ext cx="11417300" cy="4820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BE96C6-1843-4457-BC07-9141BB4CCF64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7613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980D2-C022-459E-A1F1-87941AA5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3E93C-D9EC-4D6A-893F-F9844785F7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B125F9-7FB0-4D24-8F71-11CA96ED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3FA33F-2CFE-4C4B-89A1-BD1D23843ABA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7FD5B-8E8B-493B-B109-84FDAA6F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D5182-C9EA-499D-9300-A5EBD215C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6536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5CA62-5EBB-4C0A-B3D7-C7967E091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E9E1-24C5-4DAC-8EB4-9C46DDC8C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7FE3EA-0946-43A4-ADDD-B62FB5521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DD65F-A052-4E05-8923-AA91EB3D49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2346F9-27CA-46E1-8BC9-3CE1718583F9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AAF469-53E3-41B5-ADF1-28FC6890E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884C4-C36F-4D43-8B58-DB23927B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4412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84023-8FE7-47B2-B7A1-4971C4FD9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99207-2FDF-49B9-BA7F-94E519CB1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CD0E2-AE2E-4443-8070-DDD06B04D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B5921C-733C-4CF8-AB7B-8D46D79680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6CE057-98D2-4130-AF46-E03086255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3BDBAF-3E85-4DAA-9F1E-D9C930A9D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8C3571-EFF5-4E7C-91D1-F1195BEC271B}" type="datetime1">
              <a:rPr lang="en-US" smtClean="0"/>
              <a:t>9/1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AFC847-2715-4243-8289-D800C0F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80A1FD-7A6B-4F5B-81E9-BB3B8C7E6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6838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72B28-54E4-4C99-BF0E-B33634A0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1B56EF-99A8-4B5F-9416-DAC4B3477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82D993-F377-4AAF-8670-6E050E3F694E}" type="datetime1">
              <a:rPr lang="en-US" smtClean="0"/>
              <a:t>9/1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708689-2A33-4836-9C59-74BB4387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FCAC0-2122-479C-9BCE-C1CDB80F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873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5777-A263-1D14-4BA2-38B834CBA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80E221-948F-0FD3-B20D-EB5104291C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CB4BAF-27C8-85A2-1BB7-ACF54DCAB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D1A0C-D2A5-4D28-4B46-26E1F5B77A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3805285-FEE7-49DE-8646-ACA27553E594}" type="datetime1">
              <a:rPr lang="en-ID" smtClean="0"/>
              <a:t>19/09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A61E3A-FB61-CCDA-CACC-71817C255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FB166C-0390-B6E0-0013-EFCFB1F47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65334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3E64D6-7065-4269-B1D3-441F25A3B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F33F691-6999-434A-88D5-09942285D5CB}" type="datetime1">
              <a:rPr lang="en-US" smtClean="0"/>
              <a:t>9/1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B30C3A-EA5E-4657-95CA-9B086221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9CBDC-D80F-47CC-B4AF-D4B76B58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2769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82F8B-0689-4E3C-961F-F117033CD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9D4227-540D-483C-B64B-DA43DAF20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4CCA32-AE3E-479E-9979-3AFBDF95AF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832154-34CE-4849-8DFE-840F63FD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A1BE52-553F-46F4-AE11-863FD67EA492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ADC88D-CCD6-4897-8C89-99A2AEA49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6D7FCD-B015-452F-BEA0-3FB4BC9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6837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FF0C1-CB41-42E9-A5D3-B32D4A7CD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7D0B6-B34A-4434-9B49-42484457E8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1BC63-447A-47E5-9868-60CE07485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A5EE7-582A-4D1E-BDD2-F5397EA315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EF53246-3525-4440-8E2E-A28CFDBCA39B}" type="datetime1">
              <a:rPr lang="en-US" smtClean="0"/>
              <a:t>9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967F00-AB59-4DC6-8AB2-23E75CB3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EF9295-41A4-4C61-96C4-760B4654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7440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47C99-D598-4AE0-896E-1C9D65B7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20C0C6-6FC8-40F8-AFA5-ADA1E4417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E903-27DA-44D7-AEFA-9628FC7E5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1892B3-6194-4626-8D5D-C1B1652730BB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04B9-E95B-40DE-829A-E8315FB8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06CC9-E391-4937-905B-FE4B1E752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9463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3BDBA2-440A-47F4-9043-F850A08A2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07B311-5DC5-4E62-B219-DE5897D31E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40E7F-620C-418F-84C6-30B3A156C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BC82BF5-E2BD-4206-95D4-3AE02BFB211A}" type="datetime1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7F132-C2B3-4CEC-B9B7-8ADDDA570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83128-B7F4-4641-9062-2842F1E95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601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D7248-396C-E995-7FB4-1F174CF2E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23D35-BC35-C3A8-43C7-12747DA0B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F323A3-347C-672B-9287-CF5ECAB03D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B982F9-3A37-4F4F-CBD5-A8BC37D438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C3F8DC-02EB-0003-76F7-3D468BC49B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B7B369-1CF8-9730-8CB4-B7BB5A832B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778001-70A9-44E8-AF79-218FF5BDEA54}" type="datetime1">
              <a:rPr lang="en-ID" smtClean="0"/>
              <a:t>19/09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B50A6B-DCB9-5C99-EA2B-80B77548A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8280BC-E16F-729F-6903-AEEEA4D28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8615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614FC-F454-96E7-57F2-99F651784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49389D-C901-82E1-A58F-31F121C0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345B00B-C47F-47F7-B60B-1FB10D7CA4A9}" type="datetime1">
              <a:rPr lang="en-ID" smtClean="0"/>
              <a:t>19/09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2D6E22-C3C3-EBD1-BE88-18A21E5F1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45448-9772-8451-1F99-E4EBFBCB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2985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85E0E3-F891-F8BB-E641-0099836C4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2BA5661-83C7-48F9-8C48-3A4B1C09CA69}" type="datetime1">
              <a:rPr lang="en-ID" smtClean="0"/>
              <a:t>19/09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38C488-4471-269D-6840-964DFC5FE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E83C9-CA97-4863-CF39-0B3925B35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4031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144B-C66A-D442-520A-F7861016C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1B28CC-7C85-E6CF-E80C-DC54B17F9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7D2D85-243B-C740-A132-271DF455E7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88205-BF7A-416D-DD98-3D3F13C118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3CB9DC-D0F6-4151-B29E-60B54C9B60D4}" type="datetime1">
              <a:rPr lang="en-ID" smtClean="0"/>
              <a:t>19/09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3B7877-2973-3D39-ADB0-F9BE9F14F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4BF73D-1651-7D81-03E9-2AE6F9888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36397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E7CC9-DE65-1BC8-CF55-A2023C2D2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3FD31F-746B-331C-545D-DDC8B48225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920215-1E4F-57D6-82E0-FA41EA6699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15786-50D1-C77C-4D6A-9FAE397C8B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1C35078-4904-4F49-BFBE-EBCEA4022CD2}" type="datetime1">
              <a:rPr lang="en-ID" smtClean="0"/>
              <a:t>19/09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D51DE9-F4B5-E789-8853-2113C11FF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C4F15A-5D4E-5A3D-1661-1330CB8BC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72625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6C8344-BDE8-290A-1675-200D6BE26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5" y="365126"/>
            <a:ext cx="11121571" cy="8831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C27A6C-75FB-A759-49E2-B44D9CF5AC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215" y="1480457"/>
            <a:ext cx="11121571" cy="4696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7A0EA-37C3-C374-E44B-FEFC20C76C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1358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7334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36638D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1D80F1-4FEE-1821-ABB1-D3182AE74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21329A-4C80-B5FD-F7C4-E4B2994F0E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B1F7E1-9E12-06E0-CDC0-2E1AF6A1B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E79756-F66D-45AA-ACF4-9C1F6C8E1109}" type="datetime1">
              <a:rPr lang="en-ID" smtClean="0"/>
              <a:t>19/0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4DAD8A-966A-9DA9-7E82-A847C0A6D9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06C267-2886-0C80-7D5D-D41016C0D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C77C0-05E0-4F3B-9DAC-D34674A38B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277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F1A51-B966-4A8C-8C10-5CB0A087D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6899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3F1A51-B966-4A8C-8C10-5CB0A087D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ABDB85-54EC-42B0-A183-31738D9A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0A39E-0D2E-4EF4-BDFB-9AE2B0761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1460500"/>
            <a:ext cx="11417300" cy="4716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0B3E9-4EA7-4871-BA28-D174C083C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3DB09A56-2F1D-4318-9240-BF2B90CE3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41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F1A51-B966-4A8C-8C10-5CB0A087D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5107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3F1A51-B966-4A8C-8C10-5CB0A087D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ABDB85-54EC-42B0-A183-31738D9A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0A39E-0D2E-4EF4-BDFB-9AE2B0761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1460500"/>
            <a:ext cx="11417300" cy="4716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0B3E9-4EA7-4871-BA28-D174C083C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3DB09A56-2F1D-4318-9240-BF2B90CE3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47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tiff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12" Type="http://schemas.microsoft.com/office/2007/relationships/hdphoto" Target="../media/hdphoto1.wdp"/><Relationship Id="rId2" Type="http://schemas.openxmlformats.org/officeDocument/2006/relationships/image" Target="../media/image15.png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5" Type="http://schemas.openxmlformats.org/officeDocument/2006/relationships/image" Target="../media/image18.emf"/><Relationship Id="rId15" Type="http://schemas.openxmlformats.org/officeDocument/2006/relationships/image" Target="../media/image27.png"/><Relationship Id="rId10" Type="http://schemas.openxmlformats.org/officeDocument/2006/relationships/image" Target="../media/image23.emf"/><Relationship Id="rId4" Type="http://schemas.openxmlformats.org/officeDocument/2006/relationships/image" Target="../media/image17.emf"/><Relationship Id="rId9" Type="http://schemas.openxmlformats.org/officeDocument/2006/relationships/image" Target="../media/image22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5">
            <a:extLst>
              <a:ext uri="{FF2B5EF4-FFF2-40B4-BE49-F238E27FC236}">
                <a16:creationId xmlns:a16="http://schemas.microsoft.com/office/drawing/2014/main" id="{7E52DC74-CDBE-078F-56B8-6B73E5040848}"/>
              </a:ext>
            </a:extLst>
          </p:cNvPr>
          <p:cNvSpPr/>
          <p:nvPr/>
        </p:nvSpPr>
        <p:spPr>
          <a:xfrm>
            <a:off x="-21939" y="0"/>
            <a:ext cx="4736473" cy="59091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CC6FF"/>
              </a:solidFill>
            </a:endParaRPr>
          </a:p>
        </p:txBody>
      </p:sp>
      <p:pic>
        <p:nvPicPr>
          <p:cNvPr id="14" name="Picture 13" descr="A picture containing calendar&#10;&#10;Description automatically generated">
            <a:extLst>
              <a:ext uri="{FF2B5EF4-FFF2-40B4-BE49-F238E27FC236}">
                <a16:creationId xmlns:a16="http://schemas.microsoft.com/office/drawing/2014/main" id="{89D02043-D93D-41E8-2EF7-A0D702F36C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283" t="11694" r="10477" b="14286"/>
          <a:stretch/>
        </p:blipFill>
        <p:spPr>
          <a:xfrm>
            <a:off x="0" y="0"/>
            <a:ext cx="12192000" cy="5909156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A6453E1-280D-D368-7F6F-2F82031B4816}"/>
              </a:ext>
            </a:extLst>
          </p:cNvPr>
          <p:cNvSpPr/>
          <p:nvPr/>
        </p:nvSpPr>
        <p:spPr>
          <a:xfrm>
            <a:off x="0" y="-772746"/>
            <a:ext cx="465388" cy="465388"/>
          </a:xfrm>
          <a:prstGeom prst="ellipse">
            <a:avLst/>
          </a:prstGeom>
          <a:solidFill>
            <a:srgbClr val="3A3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BC08C3D-BE5C-9FD4-C4D6-87047B9EDDDD}"/>
              </a:ext>
            </a:extLst>
          </p:cNvPr>
          <p:cNvSpPr/>
          <p:nvPr/>
        </p:nvSpPr>
        <p:spPr>
          <a:xfrm>
            <a:off x="547687" y="-772746"/>
            <a:ext cx="465388" cy="465388"/>
          </a:xfrm>
          <a:prstGeom prst="ellipse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46B6691-656A-60D7-0901-CAA50FE5B1A1}"/>
              </a:ext>
            </a:extLst>
          </p:cNvPr>
          <p:cNvSpPr/>
          <p:nvPr/>
        </p:nvSpPr>
        <p:spPr>
          <a:xfrm>
            <a:off x="1095375" y="-772746"/>
            <a:ext cx="465388" cy="465388"/>
          </a:xfrm>
          <a:prstGeom prst="ellipse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6857BDA-72DC-3134-DAE7-151AC54B5DE5}"/>
              </a:ext>
            </a:extLst>
          </p:cNvPr>
          <p:cNvSpPr/>
          <p:nvPr/>
        </p:nvSpPr>
        <p:spPr>
          <a:xfrm>
            <a:off x="1643063" y="-772746"/>
            <a:ext cx="465388" cy="465388"/>
          </a:xfrm>
          <a:prstGeom prst="ellipse">
            <a:avLst/>
          </a:prstGeom>
          <a:solidFill>
            <a:srgbClr val="FE8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C3EB0B5-1164-F369-B812-52E515F56274}"/>
              </a:ext>
            </a:extLst>
          </p:cNvPr>
          <p:cNvSpPr/>
          <p:nvPr/>
        </p:nvSpPr>
        <p:spPr>
          <a:xfrm>
            <a:off x="2190750" y="-772746"/>
            <a:ext cx="465388" cy="465388"/>
          </a:xfrm>
          <a:prstGeom prst="ellipse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Rectángulo 5">
            <a:extLst>
              <a:ext uri="{FF2B5EF4-FFF2-40B4-BE49-F238E27FC236}">
                <a16:creationId xmlns:a16="http://schemas.microsoft.com/office/drawing/2014/main" id="{C584F591-8C69-1E93-610F-73D5C17038B2}"/>
              </a:ext>
            </a:extLst>
          </p:cNvPr>
          <p:cNvSpPr/>
          <p:nvPr/>
        </p:nvSpPr>
        <p:spPr>
          <a:xfrm>
            <a:off x="547687" y="0"/>
            <a:ext cx="4736473" cy="5909156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CC6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A22B4-5D3F-801E-DCA8-123C6D0746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5371" y="1617663"/>
            <a:ext cx="4081916" cy="2387600"/>
          </a:xfrm>
        </p:spPr>
        <p:txBody>
          <a:bodyPr lIns="0" tIns="0" rIns="0" bIns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ID" sz="4800" dirty="0">
                <a:solidFill>
                  <a:schemeClr val="bg1"/>
                </a:solidFill>
              </a:rPr>
              <a:t>Car Insurance </a:t>
            </a:r>
            <a:r>
              <a:rPr lang="en-ID" sz="4800" dirty="0" err="1">
                <a:solidFill>
                  <a:schemeClr val="bg1"/>
                </a:solidFill>
              </a:rPr>
              <a:t>Powerpoint</a:t>
            </a:r>
            <a:r>
              <a:rPr lang="en-ID" sz="4800" dirty="0">
                <a:solidFill>
                  <a:schemeClr val="bg1"/>
                </a:solidFill>
              </a:rPr>
              <a:t> Template</a:t>
            </a:r>
          </a:p>
        </p:txBody>
      </p:sp>
      <p:sp>
        <p:nvSpPr>
          <p:cNvPr id="15" name="Rectangle 20">
            <a:extLst>
              <a:ext uri="{FF2B5EF4-FFF2-40B4-BE49-F238E27FC236}">
                <a16:creationId xmlns:a16="http://schemas.microsoft.com/office/drawing/2014/main" id="{797C74EE-F0ED-5B74-751F-457A7C1A967C}"/>
              </a:ext>
            </a:extLst>
          </p:cNvPr>
          <p:cNvSpPr/>
          <p:nvPr/>
        </p:nvSpPr>
        <p:spPr>
          <a:xfrm>
            <a:off x="547687" y="4533901"/>
            <a:ext cx="4736473" cy="1375256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4C9D667-7FDA-96C7-672B-A40E9486F1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927100" y="5000096"/>
            <a:ext cx="1479927" cy="48332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FB7E25D-7DA7-2A02-2C54-34CB944F7752}"/>
              </a:ext>
            </a:extLst>
          </p:cNvPr>
          <p:cNvSpPr/>
          <p:nvPr/>
        </p:nvSpPr>
        <p:spPr>
          <a:xfrm>
            <a:off x="885371" y="4477471"/>
            <a:ext cx="978354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7CCABB-53D1-5691-5EA0-AB3641D2822F}"/>
              </a:ext>
            </a:extLst>
          </p:cNvPr>
          <p:cNvGrpSpPr/>
          <p:nvPr/>
        </p:nvGrpSpPr>
        <p:grpSpPr>
          <a:xfrm>
            <a:off x="927100" y="955142"/>
            <a:ext cx="475193" cy="634524"/>
            <a:chOff x="7764463" y="723900"/>
            <a:chExt cx="269875" cy="360363"/>
          </a:xfrm>
          <a:solidFill>
            <a:schemeClr val="bg1"/>
          </a:solidFill>
        </p:grpSpPr>
        <p:sp>
          <p:nvSpPr>
            <p:cNvPr id="21" name="Freeform 1542">
              <a:extLst>
                <a:ext uri="{FF2B5EF4-FFF2-40B4-BE49-F238E27FC236}">
                  <a16:creationId xmlns:a16="http://schemas.microsoft.com/office/drawing/2014/main" id="{8594AE48-8438-DF57-D103-65EE47A9F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025" y="798513"/>
              <a:ext cx="68263" cy="117475"/>
            </a:xfrm>
            <a:custGeom>
              <a:avLst/>
              <a:gdLst>
                <a:gd name="T0" fmla="*/ 9 w 18"/>
                <a:gd name="T1" fmla="*/ 31 h 31"/>
                <a:gd name="T2" fmla="*/ 0 w 18"/>
                <a:gd name="T3" fmla="*/ 23 h 31"/>
                <a:gd name="T4" fmla="*/ 2 w 18"/>
                <a:gd name="T5" fmla="*/ 21 h 31"/>
                <a:gd name="T6" fmla="*/ 4 w 18"/>
                <a:gd name="T7" fmla="*/ 23 h 31"/>
                <a:gd name="T8" fmla="*/ 9 w 18"/>
                <a:gd name="T9" fmla="*/ 27 h 31"/>
                <a:gd name="T10" fmla="*/ 14 w 18"/>
                <a:gd name="T11" fmla="*/ 23 h 31"/>
                <a:gd name="T12" fmla="*/ 9 w 18"/>
                <a:gd name="T13" fmla="*/ 18 h 31"/>
                <a:gd name="T14" fmla="*/ 0 w 18"/>
                <a:gd name="T15" fmla="*/ 9 h 31"/>
                <a:gd name="T16" fmla="*/ 9 w 18"/>
                <a:gd name="T17" fmla="*/ 0 h 31"/>
                <a:gd name="T18" fmla="*/ 18 w 18"/>
                <a:gd name="T19" fmla="*/ 9 h 31"/>
                <a:gd name="T20" fmla="*/ 16 w 18"/>
                <a:gd name="T21" fmla="*/ 11 h 31"/>
                <a:gd name="T22" fmla="*/ 14 w 18"/>
                <a:gd name="T23" fmla="*/ 9 h 31"/>
                <a:gd name="T24" fmla="*/ 9 w 18"/>
                <a:gd name="T25" fmla="*/ 4 h 31"/>
                <a:gd name="T26" fmla="*/ 4 w 18"/>
                <a:gd name="T27" fmla="*/ 9 h 31"/>
                <a:gd name="T28" fmla="*/ 9 w 18"/>
                <a:gd name="T29" fmla="*/ 14 h 31"/>
                <a:gd name="T30" fmla="*/ 18 w 18"/>
                <a:gd name="T31" fmla="*/ 23 h 31"/>
                <a:gd name="T32" fmla="*/ 9 w 18"/>
                <a:gd name="T3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31">
                  <a:moveTo>
                    <a:pt x="9" y="31"/>
                  </a:moveTo>
                  <a:cubicBezTo>
                    <a:pt x="4" y="31"/>
                    <a:pt x="0" y="28"/>
                    <a:pt x="0" y="23"/>
                  </a:cubicBezTo>
                  <a:cubicBezTo>
                    <a:pt x="0" y="22"/>
                    <a:pt x="1" y="21"/>
                    <a:pt x="2" y="21"/>
                  </a:cubicBezTo>
                  <a:cubicBezTo>
                    <a:pt x="3" y="21"/>
                    <a:pt x="4" y="22"/>
                    <a:pt x="4" y="23"/>
                  </a:cubicBezTo>
                  <a:cubicBezTo>
                    <a:pt x="4" y="25"/>
                    <a:pt x="6" y="27"/>
                    <a:pt x="9" y="27"/>
                  </a:cubicBezTo>
                  <a:cubicBezTo>
                    <a:pt x="12" y="27"/>
                    <a:pt x="14" y="25"/>
                    <a:pt x="14" y="23"/>
                  </a:cubicBezTo>
                  <a:cubicBezTo>
                    <a:pt x="14" y="20"/>
                    <a:pt x="12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0"/>
                    <a:pt x="17" y="11"/>
                    <a:pt x="16" y="11"/>
                  </a:cubicBezTo>
                  <a:cubicBezTo>
                    <a:pt x="15" y="11"/>
                    <a:pt x="14" y="10"/>
                    <a:pt x="14" y="9"/>
                  </a:cubicBezTo>
                  <a:cubicBezTo>
                    <a:pt x="14" y="7"/>
                    <a:pt x="12" y="4"/>
                    <a:pt x="9" y="4"/>
                  </a:cubicBezTo>
                  <a:cubicBezTo>
                    <a:pt x="6" y="4"/>
                    <a:pt x="4" y="7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4" y="14"/>
                    <a:pt x="18" y="18"/>
                    <a:pt x="18" y="23"/>
                  </a:cubicBezTo>
                  <a:cubicBezTo>
                    <a:pt x="18" y="28"/>
                    <a:pt x="14" y="31"/>
                    <a:pt x="9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543">
              <a:extLst>
                <a:ext uri="{FF2B5EF4-FFF2-40B4-BE49-F238E27FC236}">
                  <a16:creationId xmlns:a16="http://schemas.microsoft.com/office/drawing/2014/main" id="{8DFD7015-D475-C8C4-42A6-D0C2F9A5D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900113"/>
              <a:ext cx="14288" cy="34925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544">
              <a:extLst>
                <a:ext uri="{FF2B5EF4-FFF2-40B4-BE49-F238E27FC236}">
                  <a16:creationId xmlns:a16="http://schemas.microsoft.com/office/drawing/2014/main" id="{C2DAA112-9FF9-F141-93A7-7B213DEE3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7842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8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545">
              <a:extLst>
                <a:ext uri="{FF2B5EF4-FFF2-40B4-BE49-F238E27FC236}">
                  <a16:creationId xmlns:a16="http://schemas.microsoft.com/office/drawing/2014/main" id="{BD9DF8CE-608B-3493-F4D2-567BF1702A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4463" y="723900"/>
              <a:ext cx="269875" cy="360363"/>
            </a:xfrm>
            <a:custGeom>
              <a:avLst/>
              <a:gdLst>
                <a:gd name="T0" fmla="*/ 70 w 72"/>
                <a:gd name="T1" fmla="*/ 96 h 96"/>
                <a:gd name="T2" fmla="*/ 2 w 72"/>
                <a:gd name="T3" fmla="*/ 96 h 96"/>
                <a:gd name="T4" fmla="*/ 0 w 72"/>
                <a:gd name="T5" fmla="*/ 94 h 96"/>
                <a:gd name="T6" fmla="*/ 0 w 72"/>
                <a:gd name="T7" fmla="*/ 2 h 96"/>
                <a:gd name="T8" fmla="*/ 2 w 72"/>
                <a:gd name="T9" fmla="*/ 0 h 96"/>
                <a:gd name="T10" fmla="*/ 46 w 72"/>
                <a:gd name="T11" fmla="*/ 0 h 96"/>
                <a:gd name="T12" fmla="*/ 47 w 72"/>
                <a:gd name="T13" fmla="*/ 1 h 96"/>
                <a:gd name="T14" fmla="*/ 71 w 72"/>
                <a:gd name="T15" fmla="*/ 25 h 96"/>
                <a:gd name="T16" fmla="*/ 72 w 72"/>
                <a:gd name="T17" fmla="*/ 26 h 96"/>
                <a:gd name="T18" fmla="*/ 72 w 72"/>
                <a:gd name="T19" fmla="*/ 94 h 96"/>
                <a:gd name="T20" fmla="*/ 70 w 72"/>
                <a:gd name="T21" fmla="*/ 96 h 96"/>
                <a:gd name="T22" fmla="*/ 4 w 72"/>
                <a:gd name="T23" fmla="*/ 92 h 96"/>
                <a:gd name="T24" fmla="*/ 68 w 72"/>
                <a:gd name="T25" fmla="*/ 92 h 96"/>
                <a:gd name="T26" fmla="*/ 68 w 72"/>
                <a:gd name="T27" fmla="*/ 27 h 96"/>
                <a:gd name="T28" fmla="*/ 45 w 72"/>
                <a:gd name="T29" fmla="*/ 4 h 96"/>
                <a:gd name="T30" fmla="*/ 4 w 72"/>
                <a:gd name="T31" fmla="*/ 4 h 96"/>
                <a:gd name="T32" fmla="*/ 4 w 72"/>
                <a:gd name="T33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96">
                  <a:moveTo>
                    <a:pt x="70" y="96"/>
                  </a:moveTo>
                  <a:cubicBezTo>
                    <a:pt x="2" y="96"/>
                    <a:pt x="2" y="96"/>
                    <a:pt x="2" y="96"/>
                  </a:cubicBezTo>
                  <a:cubicBezTo>
                    <a:pt x="1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7" y="1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5"/>
                    <a:pt x="71" y="96"/>
                    <a:pt x="70" y="96"/>
                  </a:cubicBezTo>
                  <a:close/>
                  <a:moveTo>
                    <a:pt x="4" y="92"/>
                  </a:moveTo>
                  <a:cubicBezTo>
                    <a:pt x="68" y="92"/>
                    <a:pt x="68" y="92"/>
                    <a:pt x="68" y="9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546">
              <a:extLst>
                <a:ext uri="{FF2B5EF4-FFF2-40B4-BE49-F238E27FC236}">
                  <a16:creationId xmlns:a16="http://schemas.microsoft.com/office/drawing/2014/main" id="{4460935C-38B5-6B4D-30D7-4934797E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723900"/>
              <a:ext cx="104775" cy="104775"/>
            </a:xfrm>
            <a:custGeom>
              <a:avLst/>
              <a:gdLst>
                <a:gd name="T0" fmla="*/ 26 w 28"/>
                <a:gd name="T1" fmla="*/ 28 h 28"/>
                <a:gd name="T2" fmla="*/ 2 w 28"/>
                <a:gd name="T3" fmla="*/ 28 h 28"/>
                <a:gd name="T4" fmla="*/ 0 w 28"/>
                <a:gd name="T5" fmla="*/ 26 h 28"/>
                <a:gd name="T6" fmla="*/ 0 w 28"/>
                <a:gd name="T7" fmla="*/ 2 h 28"/>
                <a:gd name="T8" fmla="*/ 2 w 28"/>
                <a:gd name="T9" fmla="*/ 0 h 28"/>
                <a:gd name="T10" fmla="*/ 4 w 28"/>
                <a:gd name="T11" fmla="*/ 2 h 28"/>
                <a:gd name="T12" fmla="*/ 4 w 28"/>
                <a:gd name="T13" fmla="*/ 24 h 28"/>
                <a:gd name="T14" fmla="*/ 26 w 28"/>
                <a:gd name="T15" fmla="*/ 24 h 28"/>
                <a:gd name="T16" fmla="*/ 28 w 28"/>
                <a:gd name="T17" fmla="*/ 26 h 28"/>
                <a:gd name="T18" fmla="*/ 26 w 28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5"/>
                    <a:pt x="28" y="26"/>
                  </a:cubicBezTo>
                  <a:cubicBezTo>
                    <a:pt x="28" y="27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547">
              <a:extLst>
                <a:ext uri="{FF2B5EF4-FFF2-40B4-BE49-F238E27FC236}">
                  <a16:creationId xmlns:a16="http://schemas.microsoft.com/office/drawing/2014/main" id="{FC0D78B3-1457-6299-6C4E-0CD9D397E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65200"/>
              <a:ext cx="180975" cy="14288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548">
              <a:extLst>
                <a:ext uri="{FF2B5EF4-FFF2-40B4-BE49-F238E27FC236}">
                  <a16:creationId xmlns:a16="http://schemas.microsoft.com/office/drawing/2014/main" id="{61F9E468-4A39-254E-9BA3-97D72AD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935038"/>
              <a:ext cx="90488" cy="14288"/>
            </a:xfrm>
            <a:custGeom>
              <a:avLst/>
              <a:gdLst>
                <a:gd name="T0" fmla="*/ 22 w 24"/>
                <a:gd name="T1" fmla="*/ 4 h 4"/>
                <a:gd name="T2" fmla="*/ 2 w 24"/>
                <a:gd name="T3" fmla="*/ 4 h 4"/>
                <a:gd name="T4" fmla="*/ 0 w 24"/>
                <a:gd name="T5" fmla="*/ 2 h 4"/>
                <a:gd name="T6" fmla="*/ 2 w 24"/>
                <a:gd name="T7" fmla="*/ 0 h 4"/>
                <a:gd name="T8" fmla="*/ 22 w 24"/>
                <a:gd name="T9" fmla="*/ 0 h 4"/>
                <a:gd name="T10" fmla="*/ 24 w 24"/>
                <a:gd name="T11" fmla="*/ 2 h 4"/>
                <a:gd name="T12" fmla="*/ 22 w 2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"/>
                    <a:pt x="23" y="4"/>
                    <a:pt x="2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550">
              <a:extLst>
                <a:ext uri="{FF2B5EF4-FFF2-40B4-BE49-F238E27FC236}">
                  <a16:creationId xmlns:a16="http://schemas.microsoft.com/office/drawing/2014/main" id="{FF63F144-6686-E3A3-3582-C8EC23D31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904875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551">
              <a:extLst>
                <a:ext uri="{FF2B5EF4-FFF2-40B4-BE49-F238E27FC236}">
                  <a16:creationId xmlns:a16="http://schemas.microsoft.com/office/drawing/2014/main" id="{28A446BB-5EAB-606D-8954-D1022D20B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874713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552">
              <a:extLst>
                <a:ext uri="{FF2B5EF4-FFF2-40B4-BE49-F238E27FC236}">
                  <a16:creationId xmlns:a16="http://schemas.microsoft.com/office/drawing/2014/main" id="{7EB21370-EEFC-E716-982D-BF7743175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93775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553">
              <a:extLst>
                <a:ext uri="{FF2B5EF4-FFF2-40B4-BE49-F238E27FC236}">
                  <a16:creationId xmlns:a16="http://schemas.microsoft.com/office/drawing/2014/main" id="{208F72C3-BA9F-0A6F-71BC-1CAB1CB39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1023938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8447779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: Single Corner Rounded 74">
            <a:extLst>
              <a:ext uri="{FF2B5EF4-FFF2-40B4-BE49-F238E27FC236}">
                <a16:creationId xmlns:a16="http://schemas.microsoft.com/office/drawing/2014/main" id="{F07CB9CF-EA7F-B222-B533-324A74B822DA}"/>
              </a:ext>
            </a:extLst>
          </p:cNvPr>
          <p:cNvSpPr/>
          <p:nvPr/>
        </p:nvSpPr>
        <p:spPr>
          <a:xfrm flipH="1" flipV="1">
            <a:off x="5669280" y="0"/>
            <a:ext cx="6522720" cy="6644640"/>
          </a:xfrm>
          <a:prstGeom prst="round1Rect">
            <a:avLst>
              <a:gd name="adj" fmla="val 83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A67224-1805-3E37-71FF-80349B643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5" y="4089383"/>
            <a:ext cx="3909463" cy="1574157"/>
          </a:xfrm>
        </p:spPr>
        <p:txBody>
          <a:bodyPr lIns="0" rIns="0" anchor="b"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Extra</a:t>
            </a:r>
            <a:br>
              <a:rPr lang="en-US" dirty="0"/>
            </a:br>
            <a:r>
              <a:rPr lang="en-US" dirty="0"/>
              <a:t>Services</a:t>
            </a:r>
            <a:endParaRPr lang="en-ID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B70527-DCD9-DDDA-6D62-A68146E57C61}"/>
              </a:ext>
            </a:extLst>
          </p:cNvPr>
          <p:cNvSpPr/>
          <p:nvPr/>
        </p:nvSpPr>
        <p:spPr>
          <a:xfrm>
            <a:off x="5290205" y="1215127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DA9B6C8-974F-C765-ECFF-FE1CC622CC28}"/>
              </a:ext>
            </a:extLst>
          </p:cNvPr>
          <p:cNvGrpSpPr/>
          <p:nvPr/>
        </p:nvGrpSpPr>
        <p:grpSpPr>
          <a:xfrm>
            <a:off x="6385560" y="1034622"/>
            <a:ext cx="5290503" cy="1166805"/>
            <a:chOff x="6385560" y="1425923"/>
            <a:chExt cx="5290503" cy="1166805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130AB9A-9571-6B19-EBE5-DF6C333F8C91}"/>
                </a:ext>
              </a:extLst>
            </p:cNvPr>
            <p:cNvSpPr/>
            <p:nvPr/>
          </p:nvSpPr>
          <p:spPr>
            <a:xfrm>
              <a:off x="6385560" y="1425923"/>
              <a:ext cx="2407920" cy="34500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b="1" dirty="0">
                  <a:solidFill>
                    <a:srgbClr val="36638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 Hir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01B8771-084B-784C-81A8-0D2A4B8997CC}"/>
                </a:ext>
              </a:extLst>
            </p:cNvPr>
            <p:cNvSpPr/>
            <p:nvPr/>
          </p:nvSpPr>
          <p:spPr>
            <a:xfrm>
              <a:off x="6385560" y="1795905"/>
              <a:ext cx="5290503" cy="796823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 lvl="0"/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nunc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nter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magna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u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diment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orto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justo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g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odio</a:t>
              </a:r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3C8EC-4400-F7CE-FACE-93A3E1AB6553}"/>
              </a:ext>
            </a:extLst>
          </p:cNvPr>
          <p:cNvSpPr/>
          <p:nvPr/>
        </p:nvSpPr>
        <p:spPr>
          <a:xfrm>
            <a:off x="5290205" y="3026102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72994C6-6E04-7CDB-B6E8-F891882995CD}"/>
              </a:ext>
            </a:extLst>
          </p:cNvPr>
          <p:cNvGrpSpPr/>
          <p:nvPr/>
        </p:nvGrpSpPr>
        <p:grpSpPr>
          <a:xfrm>
            <a:off x="6385560" y="2845597"/>
            <a:ext cx="5290503" cy="1166805"/>
            <a:chOff x="6385560" y="3184813"/>
            <a:chExt cx="5290503" cy="116680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A5D84E0-B877-BC30-E381-3A5A7CEB98F9}"/>
                </a:ext>
              </a:extLst>
            </p:cNvPr>
            <p:cNvSpPr/>
            <p:nvPr/>
          </p:nvSpPr>
          <p:spPr>
            <a:xfrm>
              <a:off x="6385560" y="3184813"/>
              <a:ext cx="2407920" cy="34500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b="1" dirty="0">
                  <a:solidFill>
                    <a:srgbClr val="36638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onal Injury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0E61C96-0AFE-67AA-47F5-38C94BA916F5}"/>
                </a:ext>
              </a:extLst>
            </p:cNvPr>
            <p:cNvSpPr/>
            <p:nvPr/>
          </p:nvSpPr>
          <p:spPr>
            <a:xfrm>
              <a:off x="6385560" y="3554795"/>
              <a:ext cx="5290503" cy="796823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 lvl="0"/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nunc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nter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magna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u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diment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orto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justo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g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odio</a:t>
              </a:r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B9799A48-C882-30B3-2C6D-8463CD4CC6FE}"/>
              </a:ext>
            </a:extLst>
          </p:cNvPr>
          <p:cNvSpPr/>
          <p:nvPr/>
        </p:nvSpPr>
        <p:spPr>
          <a:xfrm>
            <a:off x="5290205" y="4837079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104404C-D79C-E652-A355-3A71048CB08B}"/>
              </a:ext>
            </a:extLst>
          </p:cNvPr>
          <p:cNvGrpSpPr/>
          <p:nvPr/>
        </p:nvGrpSpPr>
        <p:grpSpPr>
          <a:xfrm>
            <a:off x="6385560" y="4656574"/>
            <a:ext cx="5290503" cy="1166805"/>
            <a:chOff x="6385560" y="4943703"/>
            <a:chExt cx="5290503" cy="1166805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3EE9D8D-B1D7-3CDA-CD30-F121B955A19F}"/>
                </a:ext>
              </a:extLst>
            </p:cNvPr>
            <p:cNvSpPr/>
            <p:nvPr/>
          </p:nvSpPr>
          <p:spPr>
            <a:xfrm>
              <a:off x="6385560" y="4943703"/>
              <a:ext cx="2407920" cy="34500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b="1" dirty="0">
                  <a:solidFill>
                    <a:srgbClr val="36638D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y Cover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F96B27C-A374-D9C5-8321-413FB7C8912D}"/>
                </a:ext>
              </a:extLst>
            </p:cNvPr>
            <p:cNvSpPr/>
            <p:nvPr/>
          </p:nvSpPr>
          <p:spPr>
            <a:xfrm>
              <a:off x="6385560" y="5313685"/>
              <a:ext cx="5290503" cy="796823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 lvl="0"/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nunc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nterd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magna,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u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dimentum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ortor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justo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get</a:t>
              </a:r>
              <a:r>
                <a:rPr lang="en-US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odio</a:t>
              </a:r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63" name="Content Placeholder 7">
            <a:extLst>
              <a:ext uri="{FF2B5EF4-FFF2-40B4-BE49-F238E27FC236}">
                <a16:creationId xmlns:a16="http://schemas.microsoft.com/office/drawing/2014/main" id="{89E9D0A7-2F0B-8B8D-25B1-86BCEBA29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8" r="20448"/>
          <a:stretch/>
        </p:blipFill>
        <p:spPr>
          <a:xfrm flipH="1">
            <a:off x="-2" y="2"/>
            <a:ext cx="4085865" cy="3887812"/>
          </a:xfrm>
          <a:custGeom>
            <a:avLst/>
            <a:gdLst>
              <a:gd name="connsiteX0" fmla="*/ 145680 w 4381094"/>
              <a:gd name="connsiteY0" fmla="*/ 0 h 4168731"/>
              <a:gd name="connsiteX1" fmla="*/ 4381094 w 4381094"/>
              <a:gd name="connsiteY1" fmla="*/ 0 h 4168731"/>
              <a:gd name="connsiteX2" fmla="*/ 4381094 w 4381094"/>
              <a:gd name="connsiteY2" fmla="*/ 3945327 h 4168731"/>
              <a:gd name="connsiteX3" fmla="*/ 4165051 w 4381094"/>
              <a:gd name="connsiteY3" fmla="*/ 4024399 h 4168731"/>
              <a:gd name="connsiteX4" fmla="*/ 3210382 w 4381094"/>
              <a:gd name="connsiteY4" fmla="*/ 4168731 h 4168731"/>
              <a:gd name="connsiteX5" fmla="*/ 0 w 4381094"/>
              <a:gd name="connsiteY5" fmla="*/ 958349 h 4168731"/>
              <a:gd name="connsiteX6" fmla="*/ 144333 w 4381094"/>
              <a:gd name="connsiteY6" fmla="*/ 3680 h 416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1094" h="4168731">
                <a:moveTo>
                  <a:pt x="145680" y="0"/>
                </a:moveTo>
                <a:lnTo>
                  <a:pt x="4381094" y="0"/>
                </a:lnTo>
                <a:lnTo>
                  <a:pt x="4381094" y="3945327"/>
                </a:lnTo>
                <a:lnTo>
                  <a:pt x="4165051" y="4024399"/>
                </a:lnTo>
                <a:cubicBezTo>
                  <a:pt x="3863472" y="4118200"/>
                  <a:pt x="3542828" y="4168731"/>
                  <a:pt x="3210382" y="4168731"/>
                </a:cubicBezTo>
                <a:cubicBezTo>
                  <a:pt x="1437337" y="4168731"/>
                  <a:pt x="0" y="2731394"/>
                  <a:pt x="0" y="958349"/>
                </a:cubicBezTo>
                <a:cubicBezTo>
                  <a:pt x="0" y="625903"/>
                  <a:pt x="50532" y="305259"/>
                  <a:pt x="144333" y="3680"/>
                </a:cubicBezTo>
                <a:close/>
              </a:path>
            </a:pathLst>
          </a:cu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40A0CDB9-B34D-9D0C-6A9A-2153FDC83846}"/>
              </a:ext>
            </a:extLst>
          </p:cNvPr>
          <p:cNvGrpSpPr/>
          <p:nvPr/>
        </p:nvGrpSpPr>
        <p:grpSpPr>
          <a:xfrm>
            <a:off x="6362515" y="2523512"/>
            <a:ext cx="5313547" cy="1810976"/>
            <a:chOff x="5290205" y="2523512"/>
            <a:chExt cx="6385858" cy="1810976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41513BE-D720-A22E-D257-0BAB409CB2AC}"/>
                </a:ext>
              </a:extLst>
            </p:cNvPr>
            <p:cNvCxnSpPr>
              <a:cxnSpLocks/>
            </p:cNvCxnSpPr>
            <p:nvPr/>
          </p:nvCxnSpPr>
          <p:spPr>
            <a:xfrm>
              <a:off x="5290205" y="2523512"/>
              <a:ext cx="638585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47E0B4D-86DC-FC53-7696-EDBBFAD2CFFF}"/>
                </a:ext>
              </a:extLst>
            </p:cNvPr>
            <p:cNvCxnSpPr>
              <a:cxnSpLocks/>
            </p:cNvCxnSpPr>
            <p:nvPr/>
          </p:nvCxnSpPr>
          <p:spPr>
            <a:xfrm>
              <a:off x="5290205" y="4334488"/>
              <a:ext cx="638585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Oval 67">
            <a:extLst>
              <a:ext uri="{FF2B5EF4-FFF2-40B4-BE49-F238E27FC236}">
                <a16:creationId xmlns:a16="http://schemas.microsoft.com/office/drawing/2014/main" id="{0A36B253-3A78-9BE5-C8E5-58B21C9C6079}"/>
              </a:ext>
            </a:extLst>
          </p:cNvPr>
          <p:cNvSpPr/>
          <p:nvPr/>
        </p:nvSpPr>
        <p:spPr>
          <a:xfrm>
            <a:off x="3198085" y="1994704"/>
            <a:ext cx="869066" cy="869066"/>
          </a:xfrm>
          <a:prstGeom prst="ellipse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4141F95-AB93-8A52-B5F2-75ECF5EC6821}"/>
              </a:ext>
            </a:extLst>
          </p:cNvPr>
          <p:cNvCxnSpPr>
            <a:cxnSpLocks/>
          </p:cNvCxnSpPr>
          <p:nvPr/>
        </p:nvCxnSpPr>
        <p:spPr>
          <a:xfrm>
            <a:off x="572041" y="5976540"/>
            <a:ext cx="1273215" cy="0"/>
          </a:xfrm>
          <a:prstGeom prst="line">
            <a:avLst/>
          </a:prstGeom>
          <a:ln w="111125" cap="rnd">
            <a:solidFill>
              <a:srgbClr val="ABD1D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30719CA-7F87-A8E5-EB65-933DC7D5864B}"/>
              </a:ext>
            </a:extLst>
          </p:cNvPr>
          <p:cNvCxnSpPr>
            <a:cxnSpLocks/>
          </p:cNvCxnSpPr>
          <p:nvPr/>
        </p:nvCxnSpPr>
        <p:spPr>
          <a:xfrm>
            <a:off x="2317252" y="6077193"/>
            <a:ext cx="115746" cy="0"/>
          </a:xfrm>
          <a:prstGeom prst="line">
            <a:avLst/>
          </a:prstGeom>
          <a:ln w="111125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C01FE94-A5E9-9283-7131-2197FD2433CB}"/>
              </a:ext>
            </a:extLst>
          </p:cNvPr>
          <p:cNvGrpSpPr/>
          <p:nvPr/>
        </p:nvGrpSpPr>
        <p:grpSpPr>
          <a:xfrm>
            <a:off x="3441491" y="2257319"/>
            <a:ext cx="382254" cy="343836"/>
            <a:chOff x="10170127" y="1620711"/>
            <a:chExt cx="315913" cy="284162"/>
          </a:xfrm>
        </p:grpSpPr>
        <p:sp>
          <p:nvSpPr>
            <p:cNvPr id="80" name="Rectangle 621">
              <a:extLst>
                <a:ext uri="{FF2B5EF4-FFF2-40B4-BE49-F238E27FC236}">
                  <a16:creationId xmlns:a16="http://schemas.microsoft.com/office/drawing/2014/main" id="{AE48724D-E6E2-0D81-7ED0-B85478345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84415" y="1785811"/>
              <a:ext cx="46038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622">
              <a:extLst>
                <a:ext uri="{FF2B5EF4-FFF2-40B4-BE49-F238E27FC236}">
                  <a16:creationId xmlns:a16="http://schemas.microsoft.com/office/drawing/2014/main" id="{4AC23728-E554-FAA7-2222-AE5027032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0127" y="1695323"/>
              <a:ext cx="285750" cy="90488"/>
            </a:xfrm>
            <a:custGeom>
              <a:avLst/>
              <a:gdLst>
                <a:gd name="T0" fmla="*/ 180 w 180"/>
                <a:gd name="T1" fmla="*/ 19 h 57"/>
                <a:gd name="T2" fmla="*/ 161 w 180"/>
                <a:gd name="T3" fmla="*/ 0 h 57"/>
                <a:gd name="T4" fmla="*/ 19 w 180"/>
                <a:gd name="T5" fmla="*/ 0 h 57"/>
                <a:gd name="T6" fmla="*/ 0 w 180"/>
                <a:gd name="T7" fmla="*/ 19 h 57"/>
                <a:gd name="T8" fmla="*/ 0 w 180"/>
                <a:gd name="T9" fmla="*/ 57 h 57"/>
                <a:gd name="T10" fmla="*/ 71 w 180"/>
                <a:gd name="T1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57">
                  <a:moveTo>
                    <a:pt x="180" y="19"/>
                  </a:move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71" y="5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623">
              <a:extLst>
                <a:ext uri="{FF2B5EF4-FFF2-40B4-BE49-F238E27FC236}">
                  <a16:creationId xmlns:a16="http://schemas.microsoft.com/office/drawing/2014/main" id="{BB19E8F3-8FB3-58D3-D80B-807B9F5A4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0290" y="1620711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Line 624">
              <a:extLst>
                <a:ext uri="{FF2B5EF4-FFF2-40B4-BE49-F238E27FC236}">
                  <a16:creationId xmlns:a16="http://schemas.microsoft.com/office/drawing/2014/main" id="{C6938B37-83D0-E729-26A2-FC8CB8E0C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70127" y="1755648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625">
              <a:extLst>
                <a:ext uri="{FF2B5EF4-FFF2-40B4-BE49-F238E27FC236}">
                  <a16:creationId xmlns:a16="http://schemas.microsoft.com/office/drawing/2014/main" id="{DC0EE589-051E-4EB3-B687-8EA78F864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0940" y="1739773"/>
              <a:ext cx="165100" cy="165100"/>
            </a:xfrm>
            <a:custGeom>
              <a:avLst/>
              <a:gdLst>
                <a:gd name="T0" fmla="*/ 16 w 44"/>
                <a:gd name="T1" fmla="*/ 5 h 44"/>
                <a:gd name="T2" fmla="*/ 10 w 44"/>
                <a:gd name="T3" fmla="*/ 8 h 44"/>
                <a:gd name="T4" fmla="*/ 6 w 44"/>
                <a:gd name="T5" fmla="*/ 6 h 44"/>
                <a:gd name="T6" fmla="*/ 0 w 44"/>
                <a:gd name="T7" fmla="*/ 16 h 44"/>
                <a:gd name="T8" fmla="*/ 4 w 44"/>
                <a:gd name="T9" fmla="*/ 19 h 44"/>
                <a:gd name="T10" fmla="*/ 4 w 44"/>
                <a:gd name="T11" fmla="*/ 22 h 44"/>
                <a:gd name="T12" fmla="*/ 4 w 44"/>
                <a:gd name="T13" fmla="*/ 25 h 44"/>
                <a:gd name="T14" fmla="*/ 0 w 44"/>
                <a:gd name="T15" fmla="*/ 28 h 44"/>
                <a:gd name="T16" fmla="*/ 6 w 44"/>
                <a:gd name="T17" fmla="*/ 38 h 44"/>
                <a:gd name="T18" fmla="*/ 10 w 44"/>
                <a:gd name="T19" fmla="*/ 36 h 44"/>
                <a:gd name="T20" fmla="*/ 16 w 44"/>
                <a:gd name="T21" fmla="*/ 39 h 44"/>
                <a:gd name="T22" fmla="*/ 16 w 44"/>
                <a:gd name="T23" fmla="*/ 44 h 44"/>
                <a:gd name="T24" fmla="*/ 28 w 44"/>
                <a:gd name="T25" fmla="*/ 44 h 44"/>
                <a:gd name="T26" fmla="*/ 28 w 44"/>
                <a:gd name="T27" fmla="*/ 39 h 44"/>
                <a:gd name="T28" fmla="*/ 34 w 44"/>
                <a:gd name="T29" fmla="*/ 36 h 44"/>
                <a:gd name="T30" fmla="*/ 38 w 44"/>
                <a:gd name="T31" fmla="*/ 38 h 44"/>
                <a:gd name="T32" fmla="*/ 44 w 44"/>
                <a:gd name="T33" fmla="*/ 28 h 44"/>
                <a:gd name="T34" fmla="*/ 40 w 44"/>
                <a:gd name="T35" fmla="*/ 25 h 44"/>
                <a:gd name="T36" fmla="*/ 40 w 44"/>
                <a:gd name="T37" fmla="*/ 22 h 44"/>
                <a:gd name="T38" fmla="*/ 40 w 44"/>
                <a:gd name="T39" fmla="*/ 19 h 44"/>
                <a:gd name="T40" fmla="*/ 44 w 44"/>
                <a:gd name="T41" fmla="*/ 16 h 44"/>
                <a:gd name="T42" fmla="*/ 38 w 44"/>
                <a:gd name="T43" fmla="*/ 6 h 44"/>
                <a:gd name="T44" fmla="*/ 34 w 44"/>
                <a:gd name="T45" fmla="*/ 8 h 44"/>
                <a:gd name="T46" fmla="*/ 28 w 44"/>
                <a:gd name="T47" fmla="*/ 5 h 44"/>
                <a:gd name="T48" fmla="*/ 28 w 44"/>
                <a:gd name="T49" fmla="*/ 0 h 44"/>
                <a:gd name="T50" fmla="*/ 16 w 44"/>
                <a:gd name="T51" fmla="*/ 0 h 44"/>
                <a:gd name="T52" fmla="*/ 16 w 44"/>
                <a:gd name="T53" fmla="*/ 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16" y="5"/>
                  </a:moveTo>
                  <a:cubicBezTo>
                    <a:pt x="14" y="6"/>
                    <a:pt x="12" y="7"/>
                    <a:pt x="10" y="8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4" y="21"/>
                    <a:pt x="4" y="22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7"/>
                    <a:pt x="14" y="38"/>
                    <a:pt x="16" y="39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38"/>
                    <a:pt x="32" y="37"/>
                    <a:pt x="34" y="36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4"/>
                    <a:pt x="40" y="23"/>
                    <a:pt x="40" y="22"/>
                  </a:cubicBezTo>
                  <a:cubicBezTo>
                    <a:pt x="40" y="21"/>
                    <a:pt x="40" y="20"/>
                    <a:pt x="40" y="19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2" y="7"/>
                    <a:pt x="30" y="6"/>
                    <a:pt x="28" y="5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5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Oval 626">
              <a:extLst>
                <a:ext uri="{FF2B5EF4-FFF2-40B4-BE49-F238E27FC236}">
                  <a16:creationId xmlns:a16="http://schemas.microsoft.com/office/drawing/2014/main" id="{2403A01D-CEF2-514E-ADB8-397FAEBFC1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3327" y="1792161"/>
              <a:ext cx="60325" cy="60325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BD4D746-3466-56E2-3C4A-B6254A9D10F8}"/>
              </a:ext>
            </a:extLst>
          </p:cNvPr>
          <p:cNvGrpSpPr/>
          <p:nvPr/>
        </p:nvGrpSpPr>
        <p:grpSpPr>
          <a:xfrm>
            <a:off x="5520223" y="3219623"/>
            <a:ext cx="345758" cy="418752"/>
            <a:chOff x="10154252" y="838073"/>
            <a:chExt cx="285750" cy="346076"/>
          </a:xfrm>
        </p:grpSpPr>
        <p:sp>
          <p:nvSpPr>
            <p:cNvPr id="87" name="Rectangle 420">
              <a:extLst>
                <a:ext uri="{FF2B5EF4-FFF2-40B4-BE49-F238E27FC236}">
                  <a16:creationId xmlns:a16="http://schemas.microsoft.com/office/drawing/2014/main" id="{F30129CB-0105-5F69-DF36-57879D4E8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0127" y="1153986"/>
              <a:ext cx="44450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Rectangle 421">
              <a:extLst>
                <a:ext uri="{FF2B5EF4-FFF2-40B4-BE49-F238E27FC236}">
                  <a16:creationId xmlns:a16="http://schemas.microsoft.com/office/drawing/2014/main" id="{0C29F2FA-925D-A552-ECF8-F2BA877FE4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9677" y="1153986"/>
              <a:ext cx="46038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422">
              <a:extLst>
                <a:ext uri="{FF2B5EF4-FFF2-40B4-BE49-F238E27FC236}">
                  <a16:creationId xmlns:a16="http://schemas.microsoft.com/office/drawing/2014/main" id="{B4B97ACA-CACB-4E52-2B78-A0F4FE0DB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4252" y="1063498"/>
              <a:ext cx="285750" cy="90488"/>
            </a:xfrm>
            <a:custGeom>
              <a:avLst/>
              <a:gdLst>
                <a:gd name="T0" fmla="*/ 180 w 180"/>
                <a:gd name="T1" fmla="*/ 57 h 57"/>
                <a:gd name="T2" fmla="*/ 180 w 180"/>
                <a:gd name="T3" fmla="*/ 19 h 57"/>
                <a:gd name="T4" fmla="*/ 161 w 180"/>
                <a:gd name="T5" fmla="*/ 0 h 57"/>
                <a:gd name="T6" fmla="*/ 19 w 180"/>
                <a:gd name="T7" fmla="*/ 0 h 57"/>
                <a:gd name="T8" fmla="*/ 0 w 180"/>
                <a:gd name="T9" fmla="*/ 19 h 57"/>
                <a:gd name="T10" fmla="*/ 0 w 180"/>
                <a:gd name="T11" fmla="*/ 57 h 57"/>
                <a:gd name="T12" fmla="*/ 180 w 180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57">
                  <a:moveTo>
                    <a:pt x="180" y="57"/>
                  </a:moveTo>
                  <a:lnTo>
                    <a:pt x="180" y="19"/>
                  </a:ln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180" y="57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Freeform 423">
              <a:extLst>
                <a:ext uri="{FF2B5EF4-FFF2-40B4-BE49-F238E27FC236}">
                  <a16:creationId xmlns:a16="http://schemas.microsoft.com/office/drawing/2014/main" id="{8D4641E0-D958-AC77-6015-4DF62E9B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4415" y="988886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Line 424">
              <a:extLst>
                <a:ext uri="{FF2B5EF4-FFF2-40B4-BE49-F238E27FC236}">
                  <a16:creationId xmlns:a16="http://schemas.microsoft.com/office/drawing/2014/main" id="{3BE3F2E1-637F-0C13-FBDA-AFB3425586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54252" y="1123823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Line 425">
              <a:extLst>
                <a:ext uri="{FF2B5EF4-FFF2-40B4-BE49-F238E27FC236}">
                  <a16:creationId xmlns:a16="http://schemas.microsoft.com/office/drawing/2014/main" id="{432268B1-E899-75B1-FCDF-3D3B78FEA7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73327" y="1123823"/>
              <a:ext cx="6667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426">
              <a:extLst>
                <a:ext uri="{FF2B5EF4-FFF2-40B4-BE49-F238E27FC236}">
                  <a16:creationId xmlns:a16="http://schemas.microsoft.com/office/drawing/2014/main" id="{0F8C81EB-3061-8957-7BE4-1D589212E0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290777" y="838073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427">
              <a:extLst>
                <a:ext uri="{FF2B5EF4-FFF2-40B4-BE49-F238E27FC236}">
                  <a16:creationId xmlns:a16="http://schemas.microsoft.com/office/drawing/2014/main" id="{231BB24D-6897-4731-211F-DCEC015C5C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27290" y="849186"/>
              <a:ext cx="7938" cy="269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Line 428">
              <a:extLst>
                <a:ext uri="{FF2B5EF4-FFF2-40B4-BE49-F238E27FC236}">
                  <a16:creationId xmlns:a16="http://schemas.microsoft.com/office/drawing/2014/main" id="{E170031E-9694-C711-4164-E1D6751895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32052" y="925386"/>
              <a:ext cx="6350" cy="254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Line 429">
              <a:extLst>
                <a:ext uri="{FF2B5EF4-FFF2-40B4-BE49-F238E27FC236}">
                  <a16:creationId xmlns:a16="http://schemas.microsoft.com/office/drawing/2014/main" id="{16B0F47D-2840-F798-C3FD-F8CED78A7C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68565" y="898398"/>
              <a:ext cx="7938" cy="269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Line 430">
              <a:extLst>
                <a:ext uri="{FF2B5EF4-FFF2-40B4-BE49-F238E27FC236}">
                  <a16:creationId xmlns:a16="http://schemas.microsoft.com/office/drawing/2014/main" id="{36E92D2C-379D-198A-EE80-0DFB287B31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203465" y="898398"/>
              <a:ext cx="7938" cy="269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Line 431">
              <a:extLst>
                <a:ext uri="{FF2B5EF4-FFF2-40B4-BE49-F238E27FC236}">
                  <a16:creationId xmlns:a16="http://schemas.microsoft.com/office/drawing/2014/main" id="{BEC84E1C-8A5C-4913-4D21-371DDD0B79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244740" y="849186"/>
              <a:ext cx="7938" cy="269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Line 432">
              <a:extLst>
                <a:ext uri="{FF2B5EF4-FFF2-40B4-BE49-F238E27FC236}">
                  <a16:creationId xmlns:a16="http://schemas.microsoft.com/office/drawing/2014/main" id="{6F29DD95-C518-F53E-4230-0F21A64A3E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241565" y="925386"/>
              <a:ext cx="7938" cy="254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Line 433">
              <a:extLst>
                <a:ext uri="{FF2B5EF4-FFF2-40B4-BE49-F238E27FC236}">
                  <a16:creationId xmlns:a16="http://schemas.microsoft.com/office/drawing/2014/main" id="{49AE14CC-D424-876E-ED54-9CF6FFD661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290777" y="928561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D2DD56F1-B622-E9A1-7580-4CDE1BD256EF}"/>
              </a:ext>
            </a:extLst>
          </p:cNvPr>
          <p:cNvGrpSpPr/>
          <p:nvPr/>
        </p:nvGrpSpPr>
        <p:grpSpPr>
          <a:xfrm>
            <a:off x="5501975" y="1446106"/>
            <a:ext cx="382254" cy="343837"/>
            <a:chOff x="10890852" y="1620711"/>
            <a:chExt cx="315913" cy="284163"/>
          </a:xfrm>
        </p:grpSpPr>
        <p:sp>
          <p:nvSpPr>
            <p:cNvPr id="102" name="Oval 627">
              <a:extLst>
                <a:ext uri="{FF2B5EF4-FFF2-40B4-BE49-F238E27FC236}">
                  <a16:creationId xmlns:a16="http://schemas.microsoft.com/office/drawing/2014/main" id="{25A851A9-B2BE-274C-69E3-0BB363824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5952" y="1755648"/>
              <a:ext cx="112713" cy="112713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Line 628">
              <a:extLst>
                <a:ext uri="{FF2B5EF4-FFF2-40B4-BE49-F238E27FC236}">
                  <a16:creationId xmlns:a16="http://schemas.microsoft.com/office/drawing/2014/main" id="{9B628C1E-9288-001C-810F-118D082EFC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154377" y="1852486"/>
              <a:ext cx="52388" cy="523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Rectangle 629">
              <a:extLst>
                <a:ext uri="{FF2B5EF4-FFF2-40B4-BE49-F238E27FC236}">
                  <a16:creationId xmlns:a16="http://schemas.microsoft.com/office/drawing/2014/main" id="{24F54CDD-E22F-109F-AFBC-AEE1586EAC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06727" y="1785811"/>
              <a:ext cx="44450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630">
              <a:extLst>
                <a:ext uri="{FF2B5EF4-FFF2-40B4-BE49-F238E27FC236}">
                  <a16:creationId xmlns:a16="http://schemas.microsoft.com/office/drawing/2014/main" id="{89239434-0903-935F-B7E4-4C9F6880F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0852" y="1695323"/>
              <a:ext cx="285750" cy="90488"/>
            </a:xfrm>
            <a:custGeom>
              <a:avLst/>
              <a:gdLst>
                <a:gd name="T0" fmla="*/ 180 w 180"/>
                <a:gd name="T1" fmla="*/ 19 h 57"/>
                <a:gd name="T2" fmla="*/ 161 w 180"/>
                <a:gd name="T3" fmla="*/ 0 h 57"/>
                <a:gd name="T4" fmla="*/ 19 w 180"/>
                <a:gd name="T5" fmla="*/ 0 h 57"/>
                <a:gd name="T6" fmla="*/ 0 w 180"/>
                <a:gd name="T7" fmla="*/ 19 h 57"/>
                <a:gd name="T8" fmla="*/ 0 w 180"/>
                <a:gd name="T9" fmla="*/ 57 h 57"/>
                <a:gd name="T10" fmla="*/ 81 w 180"/>
                <a:gd name="T1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57">
                  <a:moveTo>
                    <a:pt x="180" y="19"/>
                  </a:move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81" y="5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631">
              <a:extLst>
                <a:ext uri="{FF2B5EF4-FFF2-40B4-BE49-F238E27FC236}">
                  <a16:creationId xmlns:a16="http://schemas.microsoft.com/office/drawing/2014/main" id="{52EB3957-8418-655D-E8AF-8C5A9E07B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1015" y="1620711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Line 632">
              <a:extLst>
                <a:ext uri="{FF2B5EF4-FFF2-40B4-BE49-F238E27FC236}">
                  <a16:creationId xmlns:a16="http://schemas.microsoft.com/office/drawing/2014/main" id="{3D22A9EC-6419-16E1-3CB0-73D760519A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90852" y="1755648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5DB7779-948C-9827-7B19-7657A8F14516}"/>
              </a:ext>
            </a:extLst>
          </p:cNvPr>
          <p:cNvGrpSpPr/>
          <p:nvPr/>
        </p:nvGrpSpPr>
        <p:grpSpPr>
          <a:xfrm>
            <a:off x="5483726" y="5067097"/>
            <a:ext cx="418752" cy="345758"/>
            <a:chOff x="8042879" y="2381251"/>
            <a:chExt cx="346076" cy="285750"/>
          </a:xfrm>
        </p:grpSpPr>
        <p:sp>
          <p:nvSpPr>
            <p:cNvPr id="109" name="Rectangle 906">
              <a:extLst>
                <a:ext uri="{FF2B5EF4-FFF2-40B4-BE49-F238E27FC236}">
                  <a16:creationId xmlns:a16="http://schemas.microsoft.com/office/drawing/2014/main" id="{C691C4A5-7B3C-48F8-C741-79715FDDE7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8754" y="2546351"/>
              <a:ext cx="44450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907">
              <a:extLst>
                <a:ext uri="{FF2B5EF4-FFF2-40B4-BE49-F238E27FC236}">
                  <a16:creationId xmlns:a16="http://schemas.microsoft.com/office/drawing/2014/main" id="{AC24D58A-D877-D0FE-E888-C54EE2E80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879" y="2457451"/>
              <a:ext cx="255588" cy="88900"/>
            </a:xfrm>
            <a:custGeom>
              <a:avLst/>
              <a:gdLst>
                <a:gd name="T0" fmla="*/ 161 w 161"/>
                <a:gd name="T1" fmla="*/ 0 h 56"/>
                <a:gd name="T2" fmla="*/ 19 w 161"/>
                <a:gd name="T3" fmla="*/ 0 h 56"/>
                <a:gd name="T4" fmla="*/ 0 w 161"/>
                <a:gd name="T5" fmla="*/ 18 h 56"/>
                <a:gd name="T6" fmla="*/ 0 w 161"/>
                <a:gd name="T7" fmla="*/ 56 h 56"/>
                <a:gd name="T8" fmla="*/ 99 w 161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56">
                  <a:moveTo>
                    <a:pt x="161" y="0"/>
                  </a:moveTo>
                  <a:lnTo>
                    <a:pt x="19" y="0"/>
                  </a:lnTo>
                  <a:lnTo>
                    <a:pt x="0" y="18"/>
                  </a:lnTo>
                  <a:lnTo>
                    <a:pt x="0" y="56"/>
                  </a:lnTo>
                  <a:lnTo>
                    <a:pt x="99" y="56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908">
              <a:extLst>
                <a:ext uri="{FF2B5EF4-FFF2-40B4-BE49-F238E27FC236}">
                  <a16:creationId xmlns:a16="http://schemas.microsoft.com/office/drawing/2014/main" id="{03402F02-E873-A877-11BD-FE8221EF7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3042" y="2381251"/>
              <a:ext cx="225425" cy="76200"/>
            </a:xfrm>
            <a:custGeom>
              <a:avLst/>
              <a:gdLst>
                <a:gd name="T0" fmla="*/ 123 w 142"/>
                <a:gd name="T1" fmla="*/ 0 h 48"/>
                <a:gd name="T2" fmla="*/ 19 w 142"/>
                <a:gd name="T3" fmla="*/ 0 h 48"/>
                <a:gd name="T4" fmla="*/ 0 w 142"/>
                <a:gd name="T5" fmla="*/ 48 h 48"/>
                <a:gd name="T6" fmla="*/ 142 w 142"/>
                <a:gd name="T7" fmla="*/ 48 h 48"/>
                <a:gd name="T8" fmla="*/ 123 w 142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8">
                  <a:moveTo>
                    <a:pt x="123" y="0"/>
                  </a:moveTo>
                  <a:lnTo>
                    <a:pt x="19" y="0"/>
                  </a:lnTo>
                  <a:lnTo>
                    <a:pt x="0" y="48"/>
                  </a:lnTo>
                  <a:lnTo>
                    <a:pt x="142" y="48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Line 909">
              <a:extLst>
                <a:ext uri="{FF2B5EF4-FFF2-40B4-BE49-F238E27FC236}">
                  <a16:creationId xmlns:a16="http://schemas.microsoft.com/office/drawing/2014/main" id="{B5630215-F756-AF44-4284-A04341E639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2879" y="2516188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Rectangle 910">
              <a:extLst>
                <a:ext uri="{FF2B5EF4-FFF2-40B4-BE49-F238E27FC236}">
                  <a16:creationId xmlns:a16="http://schemas.microsoft.com/office/drawing/2014/main" id="{956AF9F6-34E6-B6B9-DF68-C2AF3D185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8142" y="2546351"/>
              <a:ext cx="150813" cy="1206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Line 911">
              <a:extLst>
                <a:ext uri="{FF2B5EF4-FFF2-40B4-BE49-F238E27FC236}">
                  <a16:creationId xmlns:a16="http://schemas.microsoft.com/office/drawing/2014/main" id="{B003CEDC-40FB-A2D8-3918-0C6B6B92B4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312754" y="2598738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912">
              <a:extLst>
                <a:ext uri="{FF2B5EF4-FFF2-40B4-BE49-F238E27FC236}">
                  <a16:creationId xmlns:a16="http://schemas.microsoft.com/office/drawing/2014/main" id="{335D1E8F-FB61-C594-CFB2-B322FAC8F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8304" y="2486026"/>
              <a:ext cx="90488" cy="60325"/>
            </a:xfrm>
            <a:custGeom>
              <a:avLst/>
              <a:gdLst>
                <a:gd name="T0" fmla="*/ 0 w 24"/>
                <a:gd name="T1" fmla="*/ 16 h 16"/>
                <a:gd name="T2" fmla="*/ 0 w 24"/>
                <a:gd name="T3" fmla="*/ 12 h 16"/>
                <a:gd name="T4" fmla="*/ 12 w 24"/>
                <a:gd name="T5" fmla="*/ 0 h 16"/>
                <a:gd name="T6" fmla="*/ 24 w 24"/>
                <a:gd name="T7" fmla="*/ 12 h 16"/>
                <a:gd name="T8" fmla="*/ 24 w 24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6">
                  <a:moveTo>
                    <a:pt x="0" y="16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6"/>
                    <a:pt x="24" y="16"/>
                    <a:pt x="24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913">
              <a:extLst>
                <a:ext uri="{FF2B5EF4-FFF2-40B4-BE49-F238E27FC236}">
                  <a16:creationId xmlns:a16="http://schemas.microsoft.com/office/drawing/2014/main" id="{488F715A-A7DF-AB78-32FA-102CBCAF2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404" y="2584451"/>
              <a:ext cx="14288" cy="14288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7" name="Oval 116">
            <a:extLst>
              <a:ext uri="{FF2B5EF4-FFF2-40B4-BE49-F238E27FC236}">
                <a16:creationId xmlns:a16="http://schemas.microsoft.com/office/drawing/2014/main" id="{AFE1C60D-940C-3C5A-30F3-D213EE18C409}"/>
              </a:ext>
            </a:extLst>
          </p:cNvPr>
          <p:cNvSpPr/>
          <p:nvPr/>
        </p:nvSpPr>
        <p:spPr>
          <a:xfrm>
            <a:off x="3194613" y="2662177"/>
            <a:ext cx="347240" cy="347240"/>
          </a:xfrm>
          <a:prstGeom prst="ellipse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7D9D8-6A80-2489-9389-A727FF7F2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10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0FE0C6-F355-56F0-9CE9-300A8F42B0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020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black car parked near green trees during daytime">
            <a:extLst>
              <a:ext uri="{FF2B5EF4-FFF2-40B4-BE49-F238E27FC236}">
                <a16:creationId xmlns:a16="http://schemas.microsoft.com/office/drawing/2014/main" id="{75D86C26-60D6-6BDC-9E7F-8A9948969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552" t="36435" r="12998" b="670"/>
          <a:stretch/>
        </p:blipFill>
        <p:spPr bwMode="auto">
          <a:xfrm>
            <a:off x="7070826" y="0"/>
            <a:ext cx="5121175" cy="6858000"/>
          </a:xfrm>
          <a:custGeom>
            <a:avLst/>
            <a:gdLst>
              <a:gd name="connsiteX0" fmla="*/ 0 w 7940715"/>
              <a:gd name="connsiteY0" fmla="*/ 0 h 6858000"/>
              <a:gd name="connsiteX1" fmla="*/ 7940715 w 7940715"/>
              <a:gd name="connsiteY1" fmla="*/ 0 h 6858000"/>
              <a:gd name="connsiteX2" fmla="*/ 7940715 w 7940715"/>
              <a:gd name="connsiteY2" fmla="*/ 6858000 h 6858000"/>
              <a:gd name="connsiteX3" fmla="*/ 0 w 79407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40715" h="6858000">
                <a:moveTo>
                  <a:pt x="0" y="0"/>
                </a:moveTo>
                <a:lnTo>
                  <a:pt x="7940715" y="0"/>
                </a:lnTo>
                <a:lnTo>
                  <a:pt x="7940715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C43079D-092E-3F49-8FE0-070501553AB2}"/>
              </a:ext>
            </a:extLst>
          </p:cNvPr>
          <p:cNvSpPr/>
          <p:nvPr/>
        </p:nvSpPr>
        <p:spPr>
          <a:xfrm>
            <a:off x="7070826" y="3"/>
            <a:ext cx="5121174" cy="6857997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1646DF-63A5-33DF-8F9D-64A5E2553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5" y="365126"/>
            <a:ext cx="11121571" cy="883104"/>
          </a:xfrm>
        </p:spPr>
        <p:txBody>
          <a:bodyPr/>
          <a:lstStyle/>
          <a:p>
            <a:r>
              <a:rPr lang="en-US" dirty="0"/>
              <a:t>Quo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893BA8-8CDB-9EC6-7EFC-A57E05EB6215}"/>
              </a:ext>
            </a:extLst>
          </p:cNvPr>
          <p:cNvSpPr/>
          <p:nvPr/>
        </p:nvSpPr>
        <p:spPr>
          <a:xfrm>
            <a:off x="0" y="1554480"/>
            <a:ext cx="8288594" cy="4571017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C59EE-608E-63F5-D169-1B66828C507B}"/>
              </a:ext>
            </a:extLst>
          </p:cNvPr>
          <p:cNvSpPr/>
          <p:nvPr/>
        </p:nvSpPr>
        <p:spPr>
          <a:xfrm>
            <a:off x="702088" y="6013554"/>
            <a:ext cx="745205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74B4C0-6207-AFDA-7445-FCD20FD2E9C9}"/>
              </a:ext>
            </a:extLst>
          </p:cNvPr>
          <p:cNvSpPr/>
          <p:nvPr/>
        </p:nvSpPr>
        <p:spPr>
          <a:xfrm>
            <a:off x="702088" y="3564688"/>
            <a:ext cx="3881118" cy="215443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Vestibulum ante ipsum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mi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ucib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uct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4D790EB-9FA7-C270-9B62-6239F9B92320}"/>
              </a:ext>
            </a:extLst>
          </p:cNvPr>
          <p:cNvSpPr/>
          <p:nvPr/>
        </p:nvSpPr>
        <p:spPr>
          <a:xfrm>
            <a:off x="702088" y="1554480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1CFD0D-FC87-6C29-36FA-D50652BAC35D}"/>
              </a:ext>
            </a:extLst>
          </p:cNvPr>
          <p:cNvGrpSpPr/>
          <p:nvPr/>
        </p:nvGrpSpPr>
        <p:grpSpPr>
          <a:xfrm>
            <a:off x="896570" y="1802746"/>
            <a:ext cx="416831" cy="309262"/>
            <a:chOff x="7005638" y="1855788"/>
            <a:chExt cx="344488" cy="255588"/>
          </a:xfrm>
        </p:grpSpPr>
        <p:sp>
          <p:nvSpPr>
            <p:cNvPr id="19" name="Freeform 106">
              <a:extLst>
                <a:ext uri="{FF2B5EF4-FFF2-40B4-BE49-F238E27FC236}">
                  <a16:creationId xmlns:a16="http://schemas.microsoft.com/office/drawing/2014/main" id="{A8A0025D-CA8D-E7B3-A8BC-5A725FB28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55788"/>
              <a:ext cx="157163" cy="180975"/>
            </a:xfrm>
            <a:custGeom>
              <a:avLst/>
              <a:gdLst>
                <a:gd name="T0" fmla="*/ 42 w 42"/>
                <a:gd name="T1" fmla="*/ 0 h 48"/>
                <a:gd name="T2" fmla="*/ 0 w 42"/>
                <a:gd name="T3" fmla="*/ 42 h 48"/>
                <a:gd name="T4" fmla="*/ 0 w 42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Oval 107">
              <a:extLst>
                <a:ext uri="{FF2B5EF4-FFF2-40B4-BE49-F238E27FC236}">
                  <a16:creationId xmlns:a16="http://schemas.microsoft.com/office/drawing/2014/main" id="{40547D63-B0AD-837B-1691-FDE940606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5638" y="1962151"/>
              <a:ext cx="149225" cy="14922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08">
              <a:extLst>
                <a:ext uri="{FF2B5EF4-FFF2-40B4-BE49-F238E27FC236}">
                  <a16:creationId xmlns:a16="http://schemas.microsoft.com/office/drawing/2014/main" id="{D6F1E081-592F-269D-BE12-B0E328075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2963" y="1855788"/>
              <a:ext cx="157163" cy="180975"/>
            </a:xfrm>
            <a:custGeom>
              <a:avLst/>
              <a:gdLst>
                <a:gd name="T0" fmla="*/ 42 w 42"/>
                <a:gd name="T1" fmla="*/ 0 h 48"/>
                <a:gd name="T2" fmla="*/ 0 w 42"/>
                <a:gd name="T3" fmla="*/ 42 h 48"/>
                <a:gd name="T4" fmla="*/ 0 w 42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109">
              <a:extLst>
                <a:ext uri="{FF2B5EF4-FFF2-40B4-BE49-F238E27FC236}">
                  <a16:creationId xmlns:a16="http://schemas.microsoft.com/office/drawing/2014/main" id="{4B755E6D-9AE7-9C9E-968E-2292EA756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2963" y="1962151"/>
              <a:ext cx="150813" cy="14922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880ACAE-6FCC-0019-CD51-092088E3B6A3}"/>
              </a:ext>
            </a:extLst>
          </p:cNvPr>
          <p:cNvSpPr/>
          <p:nvPr/>
        </p:nvSpPr>
        <p:spPr>
          <a:xfrm>
            <a:off x="702088" y="2654705"/>
            <a:ext cx="2750530" cy="61555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A910C4-E448-DC5B-F12F-12E0F7D0A9F6}"/>
              </a:ext>
            </a:extLst>
          </p:cNvPr>
          <p:cNvCxnSpPr>
            <a:cxnSpLocks/>
          </p:cNvCxnSpPr>
          <p:nvPr/>
        </p:nvCxnSpPr>
        <p:spPr>
          <a:xfrm flipH="1">
            <a:off x="702088" y="3416933"/>
            <a:ext cx="4971125" cy="0"/>
          </a:xfrm>
          <a:prstGeom prst="line">
            <a:avLst/>
          </a:prstGeom>
          <a:ln>
            <a:solidFill>
              <a:srgbClr val="366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white car with a spoiler&#10;&#10;Description automatically generated with low confidence">
            <a:extLst>
              <a:ext uri="{FF2B5EF4-FFF2-40B4-BE49-F238E27FC236}">
                <a16:creationId xmlns:a16="http://schemas.microsoft.com/office/drawing/2014/main" id="{03069F45-5B86-6B7C-BBE2-83DB57D0189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9" t="10939" r="7409" b="12301"/>
          <a:stretch/>
        </p:blipFill>
        <p:spPr>
          <a:xfrm flipH="1">
            <a:off x="4916128" y="1678109"/>
            <a:ext cx="7197213" cy="4323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95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A427EE8-4927-6543-EAAD-173CC564390B}"/>
              </a:ext>
            </a:extLst>
          </p:cNvPr>
          <p:cNvSpPr/>
          <p:nvPr/>
        </p:nvSpPr>
        <p:spPr>
          <a:xfrm>
            <a:off x="0" y="3706761"/>
            <a:ext cx="12192000" cy="3151239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1646DF-63A5-33DF-8F9D-64A5E2553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5" y="365126"/>
            <a:ext cx="11121571" cy="883104"/>
          </a:xfrm>
        </p:spPr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D07C31EB-A4C8-D9E1-137E-F2C9FED9A7E0}"/>
              </a:ext>
            </a:extLst>
          </p:cNvPr>
          <p:cNvSpPr/>
          <p:nvPr/>
        </p:nvSpPr>
        <p:spPr>
          <a:xfrm flipH="1" flipV="1">
            <a:off x="5004619" y="0"/>
            <a:ext cx="7187381" cy="6037006"/>
          </a:xfrm>
          <a:prstGeom prst="round1Rect">
            <a:avLst>
              <a:gd name="adj" fmla="val 83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icture containing motorcycle, person, car, engine&#10;&#10;Description automatically generated">
            <a:extLst>
              <a:ext uri="{FF2B5EF4-FFF2-40B4-BE49-F238E27FC236}">
                <a16:creationId xmlns:a16="http://schemas.microsoft.com/office/drawing/2014/main" id="{EE680C8C-94BD-B261-6BC8-397EB8E8DB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68" r="2178"/>
          <a:stretch/>
        </p:blipFill>
        <p:spPr>
          <a:xfrm>
            <a:off x="1798453" y="1724994"/>
            <a:ext cx="2557237" cy="39875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89842C3-EF11-76E8-08A5-40669B56B9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0" t="2160" b="4069"/>
          <a:stretch/>
        </p:blipFill>
        <p:spPr bwMode="auto">
          <a:xfrm>
            <a:off x="0" y="1307690"/>
            <a:ext cx="4729830" cy="5550310"/>
          </a:xfrm>
          <a:prstGeom prst="rect">
            <a:avLst/>
          </a:prstGeom>
          <a:noFill/>
          <a:effectLst>
            <a:outerShdw blurRad="127000" dist="38100" dir="5400000" algn="t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572A504-9DE4-9914-E4C5-4BC40D57398E}"/>
              </a:ext>
            </a:extLst>
          </p:cNvPr>
          <p:cNvCxnSpPr>
            <a:cxnSpLocks/>
          </p:cNvCxnSpPr>
          <p:nvPr/>
        </p:nvCxnSpPr>
        <p:spPr>
          <a:xfrm>
            <a:off x="7447784" y="1450484"/>
            <a:ext cx="0" cy="426205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C67CC69-B021-F2EA-C38C-05A12B34FF7F}"/>
              </a:ext>
            </a:extLst>
          </p:cNvPr>
          <p:cNvCxnSpPr>
            <a:cxnSpLocks/>
          </p:cNvCxnSpPr>
          <p:nvPr/>
        </p:nvCxnSpPr>
        <p:spPr>
          <a:xfrm>
            <a:off x="9606636" y="1450484"/>
            <a:ext cx="0" cy="426205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 descr="A person with curly hair and glasses&#10;&#10;Description automatically generated with low confidence">
            <a:extLst>
              <a:ext uri="{FF2B5EF4-FFF2-40B4-BE49-F238E27FC236}">
                <a16:creationId xmlns:a16="http://schemas.microsoft.com/office/drawing/2014/main" id="{9892D7BC-C522-43D4-654B-6942EF0A5AD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79" r="3122"/>
          <a:stretch/>
        </p:blipFill>
        <p:spPr>
          <a:xfrm>
            <a:off x="5650716" y="1450484"/>
            <a:ext cx="1435284" cy="1435284"/>
          </a:xfrm>
          <a:custGeom>
            <a:avLst/>
            <a:gdLst>
              <a:gd name="connsiteX0" fmla="*/ 0 w 1435284"/>
              <a:gd name="connsiteY0" fmla="*/ 0 h 1435284"/>
              <a:gd name="connsiteX1" fmla="*/ 1435284 w 1435284"/>
              <a:gd name="connsiteY1" fmla="*/ 0 h 1435284"/>
              <a:gd name="connsiteX2" fmla="*/ 1435284 w 1435284"/>
              <a:gd name="connsiteY2" fmla="*/ 1435284 h 1435284"/>
              <a:gd name="connsiteX3" fmla="*/ 0 w 1435284"/>
              <a:gd name="connsiteY3" fmla="*/ 1435284 h 1435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5284" h="1435284">
                <a:moveTo>
                  <a:pt x="0" y="0"/>
                </a:moveTo>
                <a:lnTo>
                  <a:pt x="1435284" y="0"/>
                </a:lnTo>
                <a:lnTo>
                  <a:pt x="1435284" y="1435284"/>
                </a:lnTo>
                <a:lnTo>
                  <a:pt x="0" y="1435284"/>
                </a:lnTo>
                <a:close/>
              </a:path>
            </a:pathLst>
          </a:custGeom>
        </p:spPr>
      </p:pic>
      <p:pic>
        <p:nvPicPr>
          <p:cNvPr id="56" name="Picture 55" descr="A picture containing person, person, indoor&#10;&#10;Description automatically generated">
            <a:extLst>
              <a:ext uri="{FF2B5EF4-FFF2-40B4-BE49-F238E27FC236}">
                <a16:creationId xmlns:a16="http://schemas.microsoft.com/office/drawing/2014/main" id="{EA39EECB-2DDF-0ADA-E8EC-0F6CA121254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2" t="11577" r="4840" b="28596"/>
          <a:stretch/>
        </p:blipFill>
        <p:spPr>
          <a:xfrm>
            <a:off x="7809568" y="1450484"/>
            <a:ext cx="1435284" cy="1435284"/>
          </a:xfrm>
          <a:custGeom>
            <a:avLst/>
            <a:gdLst>
              <a:gd name="connsiteX0" fmla="*/ 0 w 1435284"/>
              <a:gd name="connsiteY0" fmla="*/ 0 h 1435284"/>
              <a:gd name="connsiteX1" fmla="*/ 1435284 w 1435284"/>
              <a:gd name="connsiteY1" fmla="*/ 0 h 1435284"/>
              <a:gd name="connsiteX2" fmla="*/ 1435284 w 1435284"/>
              <a:gd name="connsiteY2" fmla="*/ 1435284 h 1435284"/>
              <a:gd name="connsiteX3" fmla="*/ 0 w 1435284"/>
              <a:gd name="connsiteY3" fmla="*/ 1435284 h 1435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5284" h="1435284">
                <a:moveTo>
                  <a:pt x="0" y="0"/>
                </a:moveTo>
                <a:lnTo>
                  <a:pt x="1435284" y="0"/>
                </a:lnTo>
                <a:lnTo>
                  <a:pt x="1435284" y="1435284"/>
                </a:lnTo>
                <a:lnTo>
                  <a:pt x="0" y="1435284"/>
                </a:lnTo>
                <a:close/>
              </a:path>
            </a:pathLst>
          </a:custGeom>
        </p:spPr>
      </p:pic>
      <p:pic>
        <p:nvPicPr>
          <p:cNvPr id="61" name="Picture 60" descr="A person wearing sunglasses&#10;&#10;Description automatically generated with medium confidence">
            <a:extLst>
              <a:ext uri="{FF2B5EF4-FFF2-40B4-BE49-F238E27FC236}">
                <a16:creationId xmlns:a16="http://schemas.microsoft.com/office/drawing/2014/main" id="{02B978BC-BF58-EBF9-9E47-8850AD3C057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6" t="27729" r="1721" b="2758"/>
          <a:stretch/>
        </p:blipFill>
        <p:spPr>
          <a:xfrm>
            <a:off x="9968421" y="1450484"/>
            <a:ext cx="1435284" cy="1435284"/>
          </a:xfrm>
          <a:custGeom>
            <a:avLst/>
            <a:gdLst>
              <a:gd name="connsiteX0" fmla="*/ 0 w 1435284"/>
              <a:gd name="connsiteY0" fmla="*/ 0 h 1435284"/>
              <a:gd name="connsiteX1" fmla="*/ 1435284 w 1435284"/>
              <a:gd name="connsiteY1" fmla="*/ 0 h 1435284"/>
              <a:gd name="connsiteX2" fmla="*/ 1435284 w 1435284"/>
              <a:gd name="connsiteY2" fmla="*/ 1435284 h 1435284"/>
              <a:gd name="connsiteX3" fmla="*/ 0 w 1435284"/>
              <a:gd name="connsiteY3" fmla="*/ 1435284 h 1435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5284" h="1435284">
                <a:moveTo>
                  <a:pt x="0" y="0"/>
                </a:moveTo>
                <a:lnTo>
                  <a:pt x="1435284" y="0"/>
                </a:lnTo>
                <a:lnTo>
                  <a:pt x="1435284" y="1435284"/>
                </a:lnTo>
                <a:lnTo>
                  <a:pt x="0" y="1435284"/>
                </a:lnTo>
                <a:close/>
              </a:path>
            </a:pathLst>
          </a:custGeom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id="{794BD8B9-4967-0EE8-D654-FAF786C8A739}"/>
              </a:ext>
            </a:extLst>
          </p:cNvPr>
          <p:cNvGrpSpPr/>
          <p:nvPr/>
        </p:nvGrpSpPr>
        <p:grpSpPr>
          <a:xfrm>
            <a:off x="5506067" y="3054860"/>
            <a:ext cx="1724582" cy="312174"/>
            <a:chOff x="5378358" y="3054860"/>
            <a:chExt cx="1724582" cy="312174"/>
          </a:xfrm>
        </p:grpSpPr>
        <p:sp>
          <p:nvSpPr>
            <p:cNvPr id="62" name="Star: 5 Points 61">
              <a:extLst>
                <a:ext uri="{FF2B5EF4-FFF2-40B4-BE49-F238E27FC236}">
                  <a16:creationId xmlns:a16="http://schemas.microsoft.com/office/drawing/2014/main" id="{6A71A4FF-C6BB-934A-2E8F-C007425E3CA9}"/>
                </a:ext>
              </a:extLst>
            </p:cNvPr>
            <p:cNvSpPr/>
            <p:nvPr/>
          </p:nvSpPr>
          <p:spPr>
            <a:xfrm>
              <a:off x="5378358" y="3054860"/>
              <a:ext cx="312174" cy="312174"/>
            </a:xfrm>
            <a:prstGeom prst="star5">
              <a:avLst/>
            </a:prstGeom>
            <a:solidFill>
              <a:srgbClr val="FE1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Star: 5 Points 62">
              <a:extLst>
                <a:ext uri="{FF2B5EF4-FFF2-40B4-BE49-F238E27FC236}">
                  <a16:creationId xmlns:a16="http://schemas.microsoft.com/office/drawing/2014/main" id="{A014D40A-B1CC-3742-A1C8-EFDEB09C2EBE}"/>
                </a:ext>
              </a:extLst>
            </p:cNvPr>
            <p:cNvSpPr/>
            <p:nvPr/>
          </p:nvSpPr>
          <p:spPr>
            <a:xfrm>
              <a:off x="5731460" y="3054860"/>
              <a:ext cx="312174" cy="312174"/>
            </a:xfrm>
            <a:prstGeom prst="star5">
              <a:avLst/>
            </a:prstGeom>
            <a:solidFill>
              <a:srgbClr val="FE1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Star: 5 Points 63">
              <a:extLst>
                <a:ext uri="{FF2B5EF4-FFF2-40B4-BE49-F238E27FC236}">
                  <a16:creationId xmlns:a16="http://schemas.microsoft.com/office/drawing/2014/main" id="{BA448F72-5F42-8304-8663-9683544CD55F}"/>
                </a:ext>
              </a:extLst>
            </p:cNvPr>
            <p:cNvSpPr/>
            <p:nvPr/>
          </p:nvSpPr>
          <p:spPr>
            <a:xfrm>
              <a:off x="6084562" y="3054860"/>
              <a:ext cx="312174" cy="312174"/>
            </a:xfrm>
            <a:prstGeom prst="star5">
              <a:avLst/>
            </a:prstGeom>
            <a:solidFill>
              <a:srgbClr val="FE1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Star: 5 Points 64">
              <a:extLst>
                <a:ext uri="{FF2B5EF4-FFF2-40B4-BE49-F238E27FC236}">
                  <a16:creationId xmlns:a16="http://schemas.microsoft.com/office/drawing/2014/main" id="{AB2CA367-AA79-F4EC-565B-D32BD5B2A2FD}"/>
                </a:ext>
              </a:extLst>
            </p:cNvPr>
            <p:cNvSpPr/>
            <p:nvPr/>
          </p:nvSpPr>
          <p:spPr>
            <a:xfrm>
              <a:off x="6437664" y="3054860"/>
              <a:ext cx="312174" cy="312174"/>
            </a:xfrm>
            <a:prstGeom prst="star5">
              <a:avLst/>
            </a:prstGeom>
            <a:solidFill>
              <a:srgbClr val="FE10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Star: 5 Points 65">
              <a:extLst>
                <a:ext uri="{FF2B5EF4-FFF2-40B4-BE49-F238E27FC236}">
                  <a16:creationId xmlns:a16="http://schemas.microsoft.com/office/drawing/2014/main" id="{C1D6A98A-CDF4-D18A-1D82-C6D6C0233805}"/>
                </a:ext>
              </a:extLst>
            </p:cNvPr>
            <p:cNvSpPr/>
            <p:nvPr/>
          </p:nvSpPr>
          <p:spPr>
            <a:xfrm>
              <a:off x="6790766" y="3054860"/>
              <a:ext cx="312174" cy="312174"/>
            </a:xfrm>
            <a:prstGeom prst="star5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303F741-329B-E3BA-F799-358DEB35FA3E}"/>
              </a:ext>
            </a:extLst>
          </p:cNvPr>
          <p:cNvGrpSpPr/>
          <p:nvPr/>
        </p:nvGrpSpPr>
        <p:grpSpPr>
          <a:xfrm>
            <a:off x="7664919" y="3054860"/>
            <a:ext cx="1724582" cy="312174"/>
            <a:chOff x="5378358" y="3054860"/>
            <a:chExt cx="1724582" cy="312174"/>
          </a:xfrm>
          <a:solidFill>
            <a:srgbClr val="FE1003"/>
          </a:solidFill>
        </p:grpSpPr>
        <p:sp>
          <p:nvSpPr>
            <p:cNvPr id="72" name="Star: 5 Points 71">
              <a:extLst>
                <a:ext uri="{FF2B5EF4-FFF2-40B4-BE49-F238E27FC236}">
                  <a16:creationId xmlns:a16="http://schemas.microsoft.com/office/drawing/2014/main" id="{0ADDE2AF-1994-6FB5-B0C3-288A6875DCA3}"/>
                </a:ext>
              </a:extLst>
            </p:cNvPr>
            <p:cNvSpPr/>
            <p:nvPr/>
          </p:nvSpPr>
          <p:spPr>
            <a:xfrm>
              <a:off x="5378358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Star: 5 Points 72">
              <a:extLst>
                <a:ext uri="{FF2B5EF4-FFF2-40B4-BE49-F238E27FC236}">
                  <a16:creationId xmlns:a16="http://schemas.microsoft.com/office/drawing/2014/main" id="{609E3132-6AD1-93A3-0508-6736AB95A82F}"/>
                </a:ext>
              </a:extLst>
            </p:cNvPr>
            <p:cNvSpPr/>
            <p:nvPr/>
          </p:nvSpPr>
          <p:spPr>
            <a:xfrm>
              <a:off x="5731460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Star: 5 Points 73">
              <a:extLst>
                <a:ext uri="{FF2B5EF4-FFF2-40B4-BE49-F238E27FC236}">
                  <a16:creationId xmlns:a16="http://schemas.microsoft.com/office/drawing/2014/main" id="{6ECF087D-C75A-3DF8-C835-AAAA2B480414}"/>
                </a:ext>
              </a:extLst>
            </p:cNvPr>
            <p:cNvSpPr/>
            <p:nvPr/>
          </p:nvSpPr>
          <p:spPr>
            <a:xfrm>
              <a:off x="6084562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Star: 5 Points 74">
              <a:extLst>
                <a:ext uri="{FF2B5EF4-FFF2-40B4-BE49-F238E27FC236}">
                  <a16:creationId xmlns:a16="http://schemas.microsoft.com/office/drawing/2014/main" id="{BD48A226-4CD3-0CFF-94D0-40C8B9AAB48F}"/>
                </a:ext>
              </a:extLst>
            </p:cNvPr>
            <p:cNvSpPr/>
            <p:nvPr/>
          </p:nvSpPr>
          <p:spPr>
            <a:xfrm>
              <a:off x="6437664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Star: 5 Points 75">
              <a:extLst>
                <a:ext uri="{FF2B5EF4-FFF2-40B4-BE49-F238E27FC236}">
                  <a16:creationId xmlns:a16="http://schemas.microsoft.com/office/drawing/2014/main" id="{EF26B14A-9CD0-2A04-0B4E-374935EBC344}"/>
                </a:ext>
              </a:extLst>
            </p:cNvPr>
            <p:cNvSpPr/>
            <p:nvPr/>
          </p:nvSpPr>
          <p:spPr>
            <a:xfrm>
              <a:off x="6790766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D220152-B220-FACD-6BC8-A115928B36C7}"/>
              </a:ext>
            </a:extLst>
          </p:cNvPr>
          <p:cNvGrpSpPr/>
          <p:nvPr/>
        </p:nvGrpSpPr>
        <p:grpSpPr>
          <a:xfrm>
            <a:off x="9823772" y="3054860"/>
            <a:ext cx="1724582" cy="312174"/>
            <a:chOff x="5378358" y="3054860"/>
            <a:chExt cx="1724582" cy="312174"/>
          </a:xfrm>
          <a:solidFill>
            <a:srgbClr val="FE1003"/>
          </a:solidFill>
        </p:grpSpPr>
        <p:sp>
          <p:nvSpPr>
            <p:cNvPr id="78" name="Star: 5 Points 77">
              <a:extLst>
                <a:ext uri="{FF2B5EF4-FFF2-40B4-BE49-F238E27FC236}">
                  <a16:creationId xmlns:a16="http://schemas.microsoft.com/office/drawing/2014/main" id="{FB1A533A-01C2-1B3C-E517-BC9087CE76DD}"/>
                </a:ext>
              </a:extLst>
            </p:cNvPr>
            <p:cNvSpPr/>
            <p:nvPr/>
          </p:nvSpPr>
          <p:spPr>
            <a:xfrm>
              <a:off x="5378358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Star: 5 Points 78">
              <a:extLst>
                <a:ext uri="{FF2B5EF4-FFF2-40B4-BE49-F238E27FC236}">
                  <a16:creationId xmlns:a16="http://schemas.microsoft.com/office/drawing/2014/main" id="{86C69416-0D0D-3A22-11D8-DB786EDB6C52}"/>
                </a:ext>
              </a:extLst>
            </p:cNvPr>
            <p:cNvSpPr/>
            <p:nvPr/>
          </p:nvSpPr>
          <p:spPr>
            <a:xfrm>
              <a:off x="5731460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Star: 5 Points 79">
              <a:extLst>
                <a:ext uri="{FF2B5EF4-FFF2-40B4-BE49-F238E27FC236}">
                  <a16:creationId xmlns:a16="http://schemas.microsoft.com/office/drawing/2014/main" id="{08754532-7FDC-94BB-D0FC-99091ECD00AD}"/>
                </a:ext>
              </a:extLst>
            </p:cNvPr>
            <p:cNvSpPr/>
            <p:nvPr/>
          </p:nvSpPr>
          <p:spPr>
            <a:xfrm>
              <a:off x="6084562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Star: 5 Points 80">
              <a:extLst>
                <a:ext uri="{FF2B5EF4-FFF2-40B4-BE49-F238E27FC236}">
                  <a16:creationId xmlns:a16="http://schemas.microsoft.com/office/drawing/2014/main" id="{AACD9DD5-CCE1-22F0-56D0-EAB0DFF67BF5}"/>
                </a:ext>
              </a:extLst>
            </p:cNvPr>
            <p:cNvSpPr/>
            <p:nvPr/>
          </p:nvSpPr>
          <p:spPr>
            <a:xfrm>
              <a:off x="6437664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Star: 5 Points 81">
              <a:extLst>
                <a:ext uri="{FF2B5EF4-FFF2-40B4-BE49-F238E27FC236}">
                  <a16:creationId xmlns:a16="http://schemas.microsoft.com/office/drawing/2014/main" id="{A919AD3E-1CB6-F2AE-5BD5-2A5134FE8E3E}"/>
                </a:ext>
              </a:extLst>
            </p:cNvPr>
            <p:cNvSpPr/>
            <p:nvPr/>
          </p:nvSpPr>
          <p:spPr>
            <a:xfrm>
              <a:off x="6790766" y="3054860"/>
              <a:ext cx="312174" cy="312174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D22498D2-6B4E-EF1D-BE52-AAB8844ACF28}"/>
              </a:ext>
            </a:extLst>
          </p:cNvPr>
          <p:cNvSpPr/>
          <p:nvPr/>
        </p:nvSpPr>
        <p:spPr>
          <a:xfrm>
            <a:off x="5378358" y="3546265"/>
            <a:ext cx="1980000" cy="34500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ctr"/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8ABCCE6-7FC9-3779-841A-CA85A94E26A9}"/>
              </a:ext>
            </a:extLst>
          </p:cNvPr>
          <p:cNvSpPr/>
          <p:nvPr/>
        </p:nvSpPr>
        <p:spPr>
          <a:xfrm>
            <a:off x="7537211" y="3546265"/>
            <a:ext cx="1980000" cy="34500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ctr"/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738F0F8-1325-E45D-C838-FCF00E8A17D8}"/>
              </a:ext>
            </a:extLst>
          </p:cNvPr>
          <p:cNvSpPr/>
          <p:nvPr/>
        </p:nvSpPr>
        <p:spPr>
          <a:xfrm>
            <a:off x="9696063" y="3546265"/>
            <a:ext cx="1980000" cy="34500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ctr"/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6958155-B195-52CA-5BBC-B9E84EF7F6B2}"/>
              </a:ext>
            </a:extLst>
          </p:cNvPr>
          <p:cNvSpPr/>
          <p:nvPr/>
        </p:nvSpPr>
        <p:spPr>
          <a:xfrm>
            <a:off x="5378358" y="4027531"/>
            <a:ext cx="1980000" cy="12926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magna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CFE3E4E-2E0C-5851-5890-F879233A8A11}"/>
              </a:ext>
            </a:extLst>
          </p:cNvPr>
          <p:cNvSpPr/>
          <p:nvPr/>
        </p:nvSpPr>
        <p:spPr>
          <a:xfrm>
            <a:off x="7537211" y="4027531"/>
            <a:ext cx="1980000" cy="12926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magna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0679B6D-46E3-9A68-8232-ED606D27BD28}"/>
              </a:ext>
            </a:extLst>
          </p:cNvPr>
          <p:cNvSpPr/>
          <p:nvPr/>
        </p:nvSpPr>
        <p:spPr>
          <a:xfrm>
            <a:off x="9696063" y="4027531"/>
            <a:ext cx="1980000" cy="12926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magna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572DA78-E2BF-A80B-B1B8-E3C6D381FC93}"/>
              </a:ext>
            </a:extLst>
          </p:cNvPr>
          <p:cNvSpPr/>
          <p:nvPr/>
        </p:nvSpPr>
        <p:spPr>
          <a:xfrm>
            <a:off x="5995756" y="5986135"/>
            <a:ext cx="745205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80479F3-A27A-DB1B-FF12-F56C24A04E0B}"/>
              </a:ext>
            </a:extLst>
          </p:cNvPr>
          <p:cNvSpPr/>
          <p:nvPr/>
        </p:nvSpPr>
        <p:spPr>
          <a:xfrm>
            <a:off x="8154609" y="5986135"/>
            <a:ext cx="745205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567F9D3-6306-94A9-FE03-26EFEF2E5C4C}"/>
              </a:ext>
            </a:extLst>
          </p:cNvPr>
          <p:cNvSpPr/>
          <p:nvPr/>
        </p:nvSpPr>
        <p:spPr>
          <a:xfrm>
            <a:off x="10313461" y="5986135"/>
            <a:ext cx="745205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588541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3802D-41C2-9018-3633-598D4AF75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Contact</a:t>
            </a:r>
          </a:p>
        </p:txBody>
      </p:sp>
      <p:pic>
        <p:nvPicPr>
          <p:cNvPr id="14" name="Content Placeholder 13" descr="A red sports car&#10;&#10;Description automatically generated with medium confidence">
            <a:extLst>
              <a:ext uri="{FF2B5EF4-FFF2-40B4-BE49-F238E27FC236}">
                <a16:creationId xmlns:a16="http://schemas.microsoft.com/office/drawing/2014/main" id="{2C25D34A-7707-34F8-B52F-6B0E1D9021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" t="25737" r="4414" b="10170"/>
          <a:stretch/>
        </p:blipFill>
        <p:spPr>
          <a:xfrm>
            <a:off x="6096000" y="0"/>
            <a:ext cx="6096000" cy="6210300"/>
          </a:xfrm>
          <a:custGeom>
            <a:avLst/>
            <a:gdLst>
              <a:gd name="connsiteX0" fmla="*/ 0 w 6096000"/>
              <a:gd name="connsiteY0" fmla="*/ 0 h 6210300"/>
              <a:gd name="connsiteX1" fmla="*/ 6096000 w 6096000"/>
              <a:gd name="connsiteY1" fmla="*/ 0 h 6210300"/>
              <a:gd name="connsiteX2" fmla="*/ 6096000 w 6096000"/>
              <a:gd name="connsiteY2" fmla="*/ 6210300 h 6210300"/>
              <a:gd name="connsiteX3" fmla="*/ 0 w 6096000"/>
              <a:gd name="connsiteY3" fmla="*/ 6210300 h 621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210300">
                <a:moveTo>
                  <a:pt x="0" y="0"/>
                </a:moveTo>
                <a:lnTo>
                  <a:pt x="6096000" y="0"/>
                </a:lnTo>
                <a:lnTo>
                  <a:pt x="6096000" y="6210300"/>
                </a:lnTo>
                <a:lnTo>
                  <a:pt x="0" y="6210300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2C6E4A-10EA-4B23-464B-EA7B85EC4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13</a:t>
            </a:fld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38D8A2-DF2F-1856-CD03-D82C6A5E63E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0D3FB60-09D1-3E13-5A79-37A222A533B9}"/>
              </a:ext>
            </a:extLst>
          </p:cNvPr>
          <p:cNvSpPr/>
          <p:nvPr/>
        </p:nvSpPr>
        <p:spPr>
          <a:xfrm>
            <a:off x="535215" y="1613356"/>
            <a:ext cx="805795" cy="805795"/>
          </a:xfrm>
          <a:prstGeom prst="rect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C9B760-1561-6394-2547-9A722379C23B}"/>
              </a:ext>
            </a:extLst>
          </p:cNvPr>
          <p:cNvSpPr/>
          <p:nvPr/>
        </p:nvSpPr>
        <p:spPr>
          <a:xfrm>
            <a:off x="1707957" y="1613356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6823C84-2D0A-75DD-BC0F-FAC1D5D9B504}"/>
              </a:ext>
            </a:extLst>
          </p:cNvPr>
          <p:cNvSpPr/>
          <p:nvPr/>
        </p:nvSpPr>
        <p:spPr>
          <a:xfrm>
            <a:off x="535215" y="3249954"/>
            <a:ext cx="805795" cy="805795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60CA88-E315-5C4D-DF60-0616FE371A69}"/>
              </a:ext>
            </a:extLst>
          </p:cNvPr>
          <p:cNvSpPr/>
          <p:nvPr/>
        </p:nvSpPr>
        <p:spPr>
          <a:xfrm>
            <a:off x="1707957" y="3249954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D7D249-9E5E-E41E-6A73-A973BCA956BC}"/>
              </a:ext>
            </a:extLst>
          </p:cNvPr>
          <p:cNvSpPr/>
          <p:nvPr/>
        </p:nvSpPr>
        <p:spPr>
          <a:xfrm>
            <a:off x="535215" y="4886553"/>
            <a:ext cx="805795" cy="805795"/>
          </a:xfrm>
          <a:prstGeom prst="rect">
            <a:avLst/>
          </a:prstGeom>
          <a:solidFill>
            <a:srgbClr val="FE8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812CB2-D75A-A1B0-4E62-B70C111B78EF}"/>
              </a:ext>
            </a:extLst>
          </p:cNvPr>
          <p:cNvSpPr/>
          <p:nvPr/>
        </p:nvSpPr>
        <p:spPr>
          <a:xfrm>
            <a:off x="1707957" y="4886553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A5B7F42-1D66-1B1A-ECED-817B8D92F8F9}"/>
              </a:ext>
            </a:extLst>
          </p:cNvPr>
          <p:cNvCxnSpPr/>
          <p:nvPr/>
        </p:nvCxnSpPr>
        <p:spPr>
          <a:xfrm>
            <a:off x="528638" y="2834552"/>
            <a:ext cx="495776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BF40B9A-4F54-DA7F-1E3A-05F19C6AA19A}"/>
              </a:ext>
            </a:extLst>
          </p:cNvPr>
          <p:cNvCxnSpPr/>
          <p:nvPr/>
        </p:nvCxnSpPr>
        <p:spPr>
          <a:xfrm>
            <a:off x="528638" y="4471151"/>
            <a:ext cx="495776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AADAFDB-1259-2278-E66A-A1FC546DDD7B}"/>
              </a:ext>
            </a:extLst>
          </p:cNvPr>
          <p:cNvGrpSpPr/>
          <p:nvPr/>
        </p:nvGrpSpPr>
        <p:grpSpPr>
          <a:xfrm>
            <a:off x="747771" y="3462509"/>
            <a:ext cx="380683" cy="380684"/>
            <a:chOff x="2678113" y="4338638"/>
            <a:chExt cx="346075" cy="346076"/>
          </a:xfrm>
        </p:grpSpPr>
        <p:sp>
          <p:nvSpPr>
            <p:cNvPr id="30" name="Freeform 253">
              <a:extLst>
                <a:ext uri="{FF2B5EF4-FFF2-40B4-BE49-F238E27FC236}">
                  <a16:creationId xmlns:a16="http://schemas.microsoft.com/office/drawing/2014/main" id="{51C2FB24-9FFF-D6AB-A38E-E67909C40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4464051"/>
              <a:ext cx="346075" cy="220663"/>
            </a:xfrm>
            <a:custGeom>
              <a:avLst/>
              <a:gdLst>
                <a:gd name="T0" fmla="*/ 76 w 92"/>
                <a:gd name="T1" fmla="*/ 0 h 59"/>
                <a:gd name="T2" fmla="*/ 92 w 92"/>
                <a:gd name="T3" fmla="*/ 11 h 59"/>
                <a:gd name="T4" fmla="*/ 92 w 92"/>
                <a:gd name="T5" fmla="*/ 53 h 59"/>
                <a:gd name="T6" fmla="*/ 86 w 92"/>
                <a:gd name="T7" fmla="*/ 59 h 59"/>
                <a:gd name="T8" fmla="*/ 6 w 92"/>
                <a:gd name="T9" fmla="*/ 59 h 59"/>
                <a:gd name="T10" fmla="*/ 0 w 92"/>
                <a:gd name="T11" fmla="*/ 53 h 59"/>
                <a:gd name="T12" fmla="*/ 0 w 92"/>
                <a:gd name="T13" fmla="*/ 11 h 59"/>
                <a:gd name="T14" fmla="*/ 16 w 92"/>
                <a:gd name="T1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9">
                  <a:moveTo>
                    <a:pt x="76" y="0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6"/>
                    <a:pt x="89" y="59"/>
                    <a:pt x="8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3" y="59"/>
                    <a:pt x="0" y="56"/>
                    <a:pt x="0" y="5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54">
              <a:extLst>
                <a:ext uri="{FF2B5EF4-FFF2-40B4-BE49-F238E27FC236}">
                  <a16:creationId xmlns:a16="http://schemas.microsoft.com/office/drawing/2014/main" id="{E27767FD-90C9-ADCC-8D97-E906A7E1A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4579938"/>
              <a:ext cx="255588" cy="60325"/>
            </a:xfrm>
            <a:custGeom>
              <a:avLst/>
              <a:gdLst>
                <a:gd name="T0" fmla="*/ 0 w 161"/>
                <a:gd name="T1" fmla="*/ 38 h 38"/>
                <a:gd name="T2" fmla="*/ 48 w 161"/>
                <a:gd name="T3" fmla="*/ 0 h 38"/>
                <a:gd name="T4" fmla="*/ 114 w 161"/>
                <a:gd name="T5" fmla="*/ 0 h 38"/>
                <a:gd name="T6" fmla="*/ 161 w 161"/>
                <a:gd name="T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38">
                  <a:moveTo>
                    <a:pt x="0" y="38"/>
                  </a:moveTo>
                  <a:lnTo>
                    <a:pt x="48" y="0"/>
                  </a:lnTo>
                  <a:lnTo>
                    <a:pt x="114" y="0"/>
                  </a:lnTo>
                  <a:lnTo>
                    <a:pt x="161" y="38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255">
              <a:extLst>
                <a:ext uri="{FF2B5EF4-FFF2-40B4-BE49-F238E27FC236}">
                  <a16:creationId xmlns:a16="http://schemas.microsoft.com/office/drawing/2014/main" id="{73886346-2522-51F2-ABD9-4D4591E375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33700" y="4505326"/>
              <a:ext cx="90488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56">
              <a:extLst>
                <a:ext uri="{FF2B5EF4-FFF2-40B4-BE49-F238E27FC236}">
                  <a16:creationId xmlns:a16="http://schemas.microsoft.com/office/drawing/2014/main" id="{3A05AEC8-1A59-97E4-AD08-7FA7A833C8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4505326"/>
              <a:ext cx="90488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257">
              <a:extLst>
                <a:ext uri="{FF2B5EF4-FFF2-40B4-BE49-F238E27FC236}">
                  <a16:creationId xmlns:a16="http://schemas.microsoft.com/office/drawing/2014/main" id="{D6922EEB-E4D8-4DD0-4025-148DDDE9B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4338638"/>
              <a:ext cx="225425" cy="207963"/>
            </a:xfrm>
            <a:custGeom>
              <a:avLst/>
              <a:gdLst>
                <a:gd name="T0" fmla="*/ 142 w 142"/>
                <a:gd name="T1" fmla="*/ 131 h 131"/>
                <a:gd name="T2" fmla="*/ 142 w 142"/>
                <a:gd name="T3" fmla="*/ 0 h 131"/>
                <a:gd name="T4" fmla="*/ 0 w 142"/>
                <a:gd name="T5" fmla="*/ 0 h 131"/>
                <a:gd name="T6" fmla="*/ 0 w 142"/>
                <a:gd name="T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31">
                  <a:moveTo>
                    <a:pt x="142" y="131"/>
                  </a:moveTo>
                  <a:lnTo>
                    <a:pt x="142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258">
              <a:extLst>
                <a:ext uri="{FF2B5EF4-FFF2-40B4-BE49-F238E27FC236}">
                  <a16:creationId xmlns:a16="http://schemas.microsoft.com/office/drawing/2014/main" id="{DFAAE313-8514-6167-4680-F1A1AF4BA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4163" y="4425951"/>
              <a:ext cx="52388" cy="523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259">
              <a:extLst>
                <a:ext uri="{FF2B5EF4-FFF2-40B4-BE49-F238E27FC236}">
                  <a16:creationId xmlns:a16="http://schemas.microsoft.com/office/drawing/2014/main" id="{65B5B63D-747E-A0F7-8A3E-B4A76E3A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4384676"/>
              <a:ext cx="134938" cy="134938"/>
            </a:xfrm>
            <a:custGeom>
              <a:avLst/>
              <a:gdLst>
                <a:gd name="T0" fmla="*/ 28 w 36"/>
                <a:gd name="T1" fmla="*/ 33 h 36"/>
                <a:gd name="T2" fmla="*/ 18 w 36"/>
                <a:gd name="T3" fmla="*/ 36 h 36"/>
                <a:gd name="T4" fmla="*/ 0 w 36"/>
                <a:gd name="T5" fmla="*/ 18 h 36"/>
                <a:gd name="T6" fmla="*/ 18 w 36"/>
                <a:gd name="T7" fmla="*/ 0 h 36"/>
                <a:gd name="T8" fmla="*/ 36 w 36"/>
                <a:gd name="T9" fmla="*/ 18 h 36"/>
                <a:gd name="T10" fmla="*/ 36 w 36"/>
                <a:gd name="T11" fmla="*/ 20 h 36"/>
                <a:gd name="T12" fmla="*/ 31 w 36"/>
                <a:gd name="T13" fmla="*/ 25 h 36"/>
                <a:gd name="T14" fmla="*/ 25 w 36"/>
                <a:gd name="T15" fmla="*/ 20 h 36"/>
                <a:gd name="T16" fmla="*/ 25 w 36"/>
                <a:gd name="T17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28" y="33"/>
                  </a:moveTo>
                  <a:cubicBezTo>
                    <a:pt x="25" y="35"/>
                    <a:pt x="22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3"/>
                    <a:pt x="34" y="25"/>
                    <a:pt x="31" y="25"/>
                  </a:cubicBezTo>
                  <a:cubicBezTo>
                    <a:pt x="27" y="25"/>
                    <a:pt x="25" y="23"/>
                    <a:pt x="25" y="20"/>
                  </a:cubicBezTo>
                  <a:cubicBezTo>
                    <a:pt x="25" y="18"/>
                    <a:pt x="25" y="18"/>
                    <a:pt x="25" y="1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CF16710-C0F1-9BA3-8B1B-8B82A34E5EC0}"/>
              </a:ext>
            </a:extLst>
          </p:cNvPr>
          <p:cNvGrpSpPr/>
          <p:nvPr/>
        </p:nvGrpSpPr>
        <p:grpSpPr>
          <a:xfrm>
            <a:off x="728737" y="1806878"/>
            <a:ext cx="418751" cy="418751"/>
            <a:chOff x="3398838" y="2894013"/>
            <a:chExt cx="346075" cy="346075"/>
          </a:xfrm>
        </p:grpSpPr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E8B69A46-0321-1763-F882-43A12FE1B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59101"/>
              <a:ext cx="219075" cy="217488"/>
            </a:xfrm>
            <a:custGeom>
              <a:avLst/>
              <a:gdLst>
                <a:gd name="T0" fmla="*/ 22 w 58"/>
                <a:gd name="T1" fmla="*/ 17 h 58"/>
                <a:gd name="T2" fmla="*/ 22 w 58"/>
                <a:gd name="T3" fmla="*/ 8 h 58"/>
                <a:gd name="T4" fmla="*/ 16 w 58"/>
                <a:gd name="T5" fmla="*/ 2 h 58"/>
                <a:gd name="T6" fmla="*/ 7 w 58"/>
                <a:gd name="T7" fmla="*/ 3 h 58"/>
                <a:gd name="T8" fmla="*/ 4 w 58"/>
                <a:gd name="T9" fmla="*/ 6 h 58"/>
                <a:gd name="T10" fmla="*/ 2 w 58"/>
                <a:gd name="T11" fmla="*/ 18 h 58"/>
                <a:gd name="T12" fmla="*/ 40 w 58"/>
                <a:gd name="T13" fmla="*/ 56 h 58"/>
                <a:gd name="T14" fmla="*/ 52 w 58"/>
                <a:gd name="T15" fmla="*/ 54 h 58"/>
                <a:gd name="T16" fmla="*/ 55 w 58"/>
                <a:gd name="T17" fmla="*/ 51 h 58"/>
                <a:gd name="T18" fmla="*/ 56 w 58"/>
                <a:gd name="T19" fmla="*/ 42 h 58"/>
                <a:gd name="T20" fmla="*/ 50 w 58"/>
                <a:gd name="T21" fmla="*/ 36 h 58"/>
                <a:gd name="T22" fmla="*/ 41 w 58"/>
                <a:gd name="T23" fmla="*/ 36 h 58"/>
                <a:gd name="T24" fmla="*/ 39 w 58"/>
                <a:gd name="T25" fmla="*/ 38 h 58"/>
                <a:gd name="T26" fmla="*/ 20 w 58"/>
                <a:gd name="T27" fmla="*/ 19 h 58"/>
                <a:gd name="T28" fmla="*/ 22 w 58"/>
                <a:gd name="T29" fmla="*/ 1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8">
                  <a:moveTo>
                    <a:pt x="22" y="17"/>
                  </a:moveTo>
                  <a:cubicBezTo>
                    <a:pt x="24" y="15"/>
                    <a:pt x="25" y="11"/>
                    <a:pt x="22" y="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0"/>
                    <a:pt x="10" y="0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0" y="10"/>
                    <a:pt x="0" y="15"/>
                    <a:pt x="2" y="18"/>
                  </a:cubicBezTo>
                  <a:cubicBezTo>
                    <a:pt x="11" y="33"/>
                    <a:pt x="25" y="47"/>
                    <a:pt x="40" y="56"/>
                  </a:cubicBezTo>
                  <a:cubicBezTo>
                    <a:pt x="43" y="58"/>
                    <a:pt x="48" y="58"/>
                    <a:pt x="52" y="5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8" y="48"/>
                    <a:pt x="58" y="44"/>
                    <a:pt x="56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7" y="33"/>
                    <a:pt x="43" y="34"/>
                    <a:pt x="41" y="36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2" y="33"/>
                    <a:pt x="25" y="26"/>
                    <a:pt x="20" y="19"/>
                  </a:cubicBezTo>
                  <a:lnTo>
                    <a:pt x="22" y="17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BF3EB97C-C8DC-8D6E-5F53-221465AC8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894013"/>
              <a:ext cx="346075" cy="346075"/>
            </a:xfrm>
            <a:custGeom>
              <a:avLst/>
              <a:gdLst>
                <a:gd name="T0" fmla="*/ 70 w 92"/>
                <a:gd name="T1" fmla="*/ 70 h 92"/>
                <a:gd name="T2" fmla="*/ 46 w 92"/>
                <a:gd name="T3" fmla="*/ 92 h 92"/>
                <a:gd name="T4" fmla="*/ 0 w 92"/>
                <a:gd name="T5" fmla="*/ 46 h 92"/>
                <a:gd name="T6" fmla="*/ 46 w 92"/>
                <a:gd name="T7" fmla="*/ 0 h 92"/>
                <a:gd name="T8" fmla="*/ 92 w 92"/>
                <a:gd name="T9" fmla="*/ 46 h 92"/>
                <a:gd name="T10" fmla="*/ 84 w 92"/>
                <a:gd name="T11" fmla="*/ 7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2">
                  <a:moveTo>
                    <a:pt x="70" y="70"/>
                  </a:moveTo>
                  <a:cubicBezTo>
                    <a:pt x="72" y="72"/>
                    <a:pt x="76" y="92"/>
                    <a:pt x="46" y="92"/>
                  </a:cubicBez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1" y="0"/>
                    <a:pt x="92" y="21"/>
                    <a:pt x="92" y="46"/>
                  </a:cubicBezTo>
                  <a:cubicBezTo>
                    <a:pt x="92" y="56"/>
                    <a:pt x="89" y="65"/>
                    <a:pt x="84" y="72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8D3652D-FCD5-C180-FC9C-FD7248A977B5}"/>
              </a:ext>
            </a:extLst>
          </p:cNvPr>
          <p:cNvGrpSpPr/>
          <p:nvPr/>
        </p:nvGrpSpPr>
        <p:grpSpPr>
          <a:xfrm>
            <a:off x="728737" y="5106967"/>
            <a:ext cx="418751" cy="364967"/>
            <a:chOff x="5562600" y="1833563"/>
            <a:chExt cx="346075" cy="301625"/>
          </a:xfrm>
        </p:grpSpPr>
        <p:sp>
          <p:nvSpPr>
            <p:cNvPr id="41" name="Rectangle 221">
              <a:extLst>
                <a:ext uri="{FF2B5EF4-FFF2-40B4-BE49-F238E27FC236}">
                  <a16:creationId xmlns:a16="http://schemas.microsoft.com/office/drawing/2014/main" id="{4C01D228-1637-6FC2-07E3-2CA8260AC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931988"/>
              <a:ext cx="346075" cy="1047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222">
              <a:extLst>
                <a:ext uri="{FF2B5EF4-FFF2-40B4-BE49-F238E27FC236}">
                  <a16:creationId xmlns:a16="http://schemas.microsoft.com/office/drawing/2014/main" id="{7B212636-95E8-B8BC-1FC2-5BC0E53D6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1833563"/>
              <a:ext cx="285750" cy="98425"/>
            </a:xfrm>
            <a:custGeom>
              <a:avLst/>
              <a:gdLst>
                <a:gd name="T0" fmla="*/ 0 w 76"/>
                <a:gd name="T1" fmla="*/ 26 h 26"/>
                <a:gd name="T2" fmla="*/ 36 w 76"/>
                <a:gd name="T3" fmla="*/ 0 h 26"/>
                <a:gd name="T4" fmla="*/ 38 w 76"/>
                <a:gd name="T5" fmla="*/ 0 h 26"/>
                <a:gd name="T6" fmla="*/ 76 w 7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6">
                  <a:moveTo>
                    <a:pt x="0" y="26"/>
                  </a:moveTo>
                  <a:cubicBezTo>
                    <a:pt x="5" y="11"/>
                    <a:pt x="20" y="1"/>
                    <a:pt x="36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5" y="0"/>
                    <a:pt x="70" y="11"/>
                    <a:pt x="76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23">
              <a:extLst>
                <a:ext uri="{FF2B5EF4-FFF2-40B4-BE49-F238E27FC236}">
                  <a16:creationId xmlns:a16="http://schemas.microsoft.com/office/drawing/2014/main" id="{3F38B34A-9A79-DF42-74B6-0C8409237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938" y="2036763"/>
              <a:ext cx="277813" cy="98425"/>
            </a:xfrm>
            <a:custGeom>
              <a:avLst/>
              <a:gdLst>
                <a:gd name="T0" fmla="*/ 74 w 74"/>
                <a:gd name="T1" fmla="*/ 0 h 26"/>
                <a:gd name="T2" fmla="*/ 37 w 74"/>
                <a:gd name="T3" fmla="*/ 26 h 26"/>
                <a:gd name="T4" fmla="*/ 0 w 74"/>
                <a:gd name="T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4" h="26">
                  <a:moveTo>
                    <a:pt x="74" y="0"/>
                  </a:moveTo>
                  <a:cubicBezTo>
                    <a:pt x="69" y="15"/>
                    <a:pt x="54" y="26"/>
                    <a:pt x="37" y="26"/>
                  </a:cubicBezTo>
                  <a:cubicBezTo>
                    <a:pt x="20" y="26"/>
                    <a:pt x="6" y="1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24">
              <a:extLst>
                <a:ext uri="{FF2B5EF4-FFF2-40B4-BE49-F238E27FC236}">
                  <a16:creationId xmlns:a16="http://schemas.microsoft.com/office/drawing/2014/main" id="{ADF79D7D-89C1-6B41-A687-7136F033E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036763"/>
              <a:ext cx="49213" cy="98425"/>
            </a:xfrm>
            <a:custGeom>
              <a:avLst/>
              <a:gdLst>
                <a:gd name="T0" fmla="*/ 0 w 13"/>
                <a:gd name="T1" fmla="*/ 0 h 26"/>
                <a:gd name="T2" fmla="*/ 13 w 13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0" y="0"/>
                  </a:moveTo>
                  <a:cubicBezTo>
                    <a:pt x="2" y="9"/>
                    <a:pt x="7" y="17"/>
                    <a:pt x="13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25">
              <a:extLst>
                <a:ext uri="{FF2B5EF4-FFF2-40B4-BE49-F238E27FC236}">
                  <a16:creationId xmlns:a16="http://schemas.microsoft.com/office/drawing/2014/main" id="{37DAB7AE-3EED-296C-4703-793328CBD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1833563"/>
              <a:ext cx="52388" cy="98425"/>
            </a:xfrm>
            <a:custGeom>
              <a:avLst/>
              <a:gdLst>
                <a:gd name="T0" fmla="*/ 14 w 14"/>
                <a:gd name="T1" fmla="*/ 0 h 26"/>
                <a:gd name="T2" fmla="*/ 0 w 14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6">
                  <a:moveTo>
                    <a:pt x="14" y="0"/>
                  </a:moveTo>
                  <a:cubicBezTo>
                    <a:pt x="7" y="8"/>
                    <a:pt x="2" y="17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26">
              <a:extLst>
                <a:ext uri="{FF2B5EF4-FFF2-40B4-BE49-F238E27FC236}">
                  <a16:creationId xmlns:a16="http://schemas.microsoft.com/office/drawing/2014/main" id="{E7CC6D14-3624-067E-069A-78AD74870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575" y="2036763"/>
              <a:ext cx="47625" cy="98425"/>
            </a:xfrm>
            <a:custGeom>
              <a:avLst/>
              <a:gdLst>
                <a:gd name="T0" fmla="*/ 13 w 13"/>
                <a:gd name="T1" fmla="*/ 0 h 26"/>
                <a:gd name="T2" fmla="*/ 0 w 13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3" y="0"/>
                  </a:moveTo>
                  <a:cubicBezTo>
                    <a:pt x="11" y="9"/>
                    <a:pt x="6" y="17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227">
              <a:extLst>
                <a:ext uri="{FF2B5EF4-FFF2-40B4-BE49-F238E27FC236}">
                  <a16:creationId xmlns:a16="http://schemas.microsoft.com/office/drawing/2014/main" id="{9252FAE8-6DD6-366B-DB7F-5268FAD56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575" y="1833563"/>
              <a:ext cx="52388" cy="98425"/>
            </a:xfrm>
            <a:custGeom>
              <a:avLst/>
              <a:gdLst>
                <a:gd name="T0" fmla="*/ 0 w 14"/>
                <a:gd name="T1" fmla="*/ 0 h 26"/>
                <a:gd name="T2" fmla="*/ 14 w 14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6">
                  <a:moveTo>
                    <a:pt x="0" y="0"/>
                  </a:moveTo>
                  <a:cubicBezTo>
                    <a:pt x="7" y="8"/>
                    <a:pt x="12" y="17"/>
                    <a:pt x="14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228">
              <a:extLst>
                <a:ext uri="{FF2B5EF4-FFF2-40B4-BE49-F238E27FC236}">
                  <a16:creationId xmlns:a16="http://schemas.microsoft.com/office/drawing/2014/main" id="{A3848310-37C2-9AC8-F5DD-F8CBAE1C64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1813" y="2066925"/>
              <a:ext cx="24765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229">
              <a:extLst>
                <a:ext uri="{FF2B5EF4-FFF2-40B4-BE49-F238E27FC236}">
                  <a16:creationId xmlns:a16="http://schemas.microsoft.com/office/drawing/2014/main" id="{2C519486-2DBA-516D-5152-3BB862D46F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1813" y="1901825"/>
              <a:ext cx="24765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230">
              <a:extLst>
                <a:ext uri="{FF2B5EF4-FFF2-40B4-BE49-F238E27FC236}">
                  <a16:creationId xmlns:a16="http://schemas.microsoft.com/office/drawing/2014/main" id="{5378842A-74C0-6487-E47B-CAAFA1308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863" y="1954213"/>
              <a:ext cx="36513" cy="60325"/>
            </a:xfrm>
            <a:custGeom>
              <a:avLst/>
              <a:gdLst>
                <a:gd name="T0" fmla="*/ 23 w 23"/>
                <a:gd name="T1" fmla="*/ 0 h 38"/>
                <a:gd name="T2" fmla="*/ 16 w 23"/>
                <a:gd name="T3" fmla="*/ 38 h 38"/>
                <a:gd name="T4" fmla="*/ 12 w 23"/>
                <a:gd name="T5" fmla="*/ 19 h 38"/>
                <a:gd name="T6" fmla="*/ 4 w 23"/>
                <a:gd name="T7" fmla="*/ 38 h 38"/>
                <a:gd name="T8" fmla="*/ 0 w 2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8">
                  <a:moveTo>
                    <a:pt x="23" y="0"/>
                  </a:moveTo>
                  <a:lnTo>
                    <a:pt x="16" y="38"/>
                  </a:lnTo>
                  <a:lnTo>
                    <a:pt x="12" y="19"/>
                  </a:lnTo>
                  <a:lnTo>
                    <a:pt x="4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231">
              <a:extLst>
                <a:ext uri="{FF2B5EF4-FFF2-40B4-BE49-F238E27FC236}">
                  <a16:creationId xmlns:a16="http://schemas.microsoft.com/office/drawing/2014/main" id="{80FA602E-8FE1-120A-227B-5D1CEAEFE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1954213"/>
              <a:ext cx="38100" cy="60325"/>
            </a:xfrm>
            <a:custGeom>
              <a:avLst/>
              <a:gdLst>
                <a:gd name="T0" fmla="*/ 24 w 24"/>
                <a:gd name="T1" fmla="*/ 0 h 38"/>
                <a:gd name="T2" fmla="*/ 19 w 24"/>
                <a:gd name="T3" fmla="*/ 38 h 38"/>
                <a:gd name="T4" fmla="*/ 12 w 24"/>
                <a:gd name="T5" fmla="*/ 19 h 38"/>
                <a:gd name="T6" fmla="*/ 5 w 24"/>
                <a:gd name="T7" fmla="*/ 38 h 38"/>
                <a:gd name="T8" fmla="*/ 0 w 2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19" y="38"/>
                  </a:lnTo>
                  <a:lnTo>
                    <a:pt x="12" y="19"/>
                  </a:lnTo>
                  <a:lnTo>
                    <a:pt x="5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232">
              <a:extLst>
                <a:ext uri="{FF2B5EF4-FFF2-40B4-BE49-F238E27FC236}">
                  <a16:creationId xmlns:a16="http://schemas.microsoft.com/office/drawing/2014/main" id="{9A19A354-3D47-8F84-AC21-8A1E65F2B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250" y="1954213"/>
              <a:ext cx="38100" cy="60325"/>
            </a:xfrm>
            <a:custGeom>
              <a:avLst/>
              <a:gdLst>
                <a:gd name="T0" fmla="*/ 24 w 24"/>
                <a:gd name="T1" fmla="*/ 0 h 38"/>
                <a:gd name="T2" fmla="*/ 19 w 24"/>
                <a:gd name="T3" fmla="*/ 38 h 38"/>
                <a:gd name="T4" fmla="*/ 12 w 24"/>
                <a:gd name="T5" fmla="*/ 19 h 38"/>
                <a:gd name="T6" fmla="*/ 7 w 24"/>
                <a:gd name="T7" fmla="*/ 38 h 38"/>
                <a:gd name="T8" fmla="*/ 0 w 2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19" y="38"/>
                  </a:lnTo>
                  <a:lnTo>
                    <a:pt x="12" y="19"/>
                  </a:lnTo>
                  <a:lnTo>
                    <a:pt x="7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2211427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3448930661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9E36893-3E16-4A9B-996E-4C94846C76E4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7E9A1A0-5A6D-49AA-9D75-DC5697DEA0A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36B154D-2B39-4A12-B3DD-188228DF28FE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5304240-6123-4D90-B365-0DB618811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169972-973F-4401-8CC5-79C27CF11B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9" name="Shape 131">
            <a:extLst>
              <a:ext uri="{FF2B5EF4-FFF2-40B4-BE49-F238E27FC236}">
                <a16:creationId xmlns:a16="http://schemas.microsoft.com/office/drawing/2014/main" id="{6A070257-0072-48A1-A018-AAB79F8B557A}"/>
              </a:ext>
            </a:extLst>
          </p:cNvPr>
          <p:cNvPicPr preferRelativeResize="0"/>
          <p:nvPr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3109F1-B6A7-4095-AAB4-55CCDDBDB7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EB7723F-5CF5-45AE-9B1C-D1FEDC9C55AA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2" name="Freeform 254">
              <a:extLst>
                <a:ext uri="{FF2B5EF4-FFF2-40B4-BE49-F238E27FC236}">
                  <a16:creationId xmlns:a16="http://schemas.microsoft.com/office/drawing/2014/main" id="{2BE91262-63AD-4D72-8A15-54D854271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55">
              <a:extLst>
                <a:ext uri="{FF2B5EF4-FFF2-40B4-BE49-F238E27FC236}">
                  <a16:creationId xmlns:a16="http://schemas.microsoft.com/office/drawing/2014/main" id="{9BB1B349-7FFE-4119-828D-6F135DE6D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256">
              <a:extLst>
                <a:ext uri="{FF2B5EF4-FFF2-40B4-BE49-F238E27FC236}">
                  <a16:creationId xmlns:a16="http://schemas.microsoft.com/office/drawing/2014/main" id="{FC38683D-0B07-42A0-A522-99D0AE3AB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57">
              <a:extLst>
                <a:ext uri="{FF2B5EF4-FFF2-40B4-BE49-F238E27FC236}">
                  <a16:creationId xmlns:a16="http://schemas.microsoft.com/office/drawing/2014/main" id="{83227BD1-CE85-42D6-9A95-08146FA86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58">
              <a:extLst>
                <a:ext uri="{FF2B5EF4-FFF2-40B4-BE49-F238E27FC236}">
                  <a16:creationId xmlns:a16="http://schemas.microsoft.com/office/drawing/2014/main" id="{ABECE42C-9113-411E-9C21-369B31D9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59">
              <a:extLst>
                <a:ext uri="{FF2B5EF4-FFF2-40B4-BE49-F238E27FC236}">
                  <a16:creationId xmlns:a16="http://schemas.microsoft.com/office/drawing/2014/main" id="{0CA96282-3745-472B-9F4B-6EA0A32B89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60">
              <a:extLst>
                <a:ext uri="{FF2B5EF4-FFF2-40B4-BE49-F238E27FC236}">
                  <a16:creationId xmlns:a16="http://schemas.microsoft.com/office/drawing/2014/main" id="{B3BD5340-64C4-4E61-8BC6-0F0A5D397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261">
              <a:extLst>
                <a:ext uri="{FF2B5EF4-FFF2-40B4-BE49-F238E27FC236}">
                  <a16:creationId xmlns:a16="http://schemas.microsoft.com/office/drawing/2014/main" id="{AD656D62-EE9F-4868-9640-0FCC71586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62">
              <a:extLst>
                <a:ext uri="{FF2B5EF4-FFF2-40B4-BE49-F238E27FC236}">
                  <a16:creationId xmlns:a16="http://schemas.microsoft.com/office/drawing/2014/main" id="{902C2B95-F126-4806-B7A0-781404E9A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2F900637-C53E-436F-A305-96B84A753670}"/>
              </a:ext>
            </a:extLst>
          </p:cNvPr>
          <p:cNvSpPr/>
          <p:nvPr/>
        </p:nvSpPr>
        <p:spPr>
          <a:xfrm>
            <a:off x="541278" y="602607"/>
            <a:ext cx="3433074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LET US DO YOUR</a:t>
            </a:r>
            <a:r>
              <a:rPr kumimoji="0" lang="id-ID" sz="32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ESENTATI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FFB60DA-0453-44FE-92A9-7E192B541B62}"/>
              </a:ext>
            </a:extLst>
          </p:cNvPr>
          <p:cNvGrpSpPr/>
          <p:nvPr/>
        </p:nvGrpSpPr>
        <p:grpSpPr>
          <a:xfrm>
            <a:off x="4117859" y="1275698"/>
            <a:ext cx="4900594" cy="2627866"/>
            <a:chOff x="4113015" y="1061247"/>
            <a:chExt cx="4900594" cy="2627866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6F845D8-F050-4E62-AAFF-EBF2FAE0A3C8}"/>
                </a:ext>
              </a:extLst>
            </p:cNvPr>
            <p:cNvGrpSpPr/>
            <p:nvPr/>
          </p:nvGrpSpPr>
          <p:grpSpPr>
            <a:xfrm>
              <a:off x="4124564" y="3402852"/>
              <a:ext cx="805870" cy="286259"/>
              <a:chOff x="2127063" y="2542759"/>
              <a:chExt cx="454893" cy="161585"/>
            </a:xfrm>
          </p:grpSpPr>
          <p:sp>
            <p:nvSpPr>
              <p:cNvPr id="55" name="Rectangle: Top Corners Rounded 54">
                <a:extLst>
                  <a:ext uri="{FF2B5EF4-FFF2-40B4-BE49-F238E27FC236}">
                    <a16:creationId xmlns:a16="http://schemas.microsoft.com/office/drawing/2014/main" id="{FF07DB1D-F1A8-4037-82F5-23E52E2DB5D5}"/>
                  </a:ext>
                </a:extLst>
              </p:cNvPr>
              <p:cNvSpPr/>
              <p:nvPr/>
            </p:nvSpPr>
            <p:spPr>
              <a:xfrm rot="5400000">
                <a:off x="2273717" y="2396105"/>
                <a:ext cx="161585" cy="454893"/>
              </a:xfrm>
              <a:prstGeom prst="round2SameRect">
                <a:avLst>
                  <a:gd name="adj1" fmla="val 46104"/>
                  <a:gd name="adj2" fmla="val 0"/>
                </a:avLst>
              </a:prstGeom>
              <a:solidFill>
                <a:srgbClr val="083D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79ABCB8-B02D-40EC-B7FE-FF475CE12749}"/>
                  </a:ext>
                </a:extLst>
              </p:cNvPr>
              <p:cNvSpPr txBox="1"/>
              <p:nvPr/>
            </p:nvSpPr>
            <p:spPr>
              <a:xfrm>
                <a:off x="2185701" y="2543045"/>
                <a:ext cx="354791" cy="138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t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FC26297-7D21-42D7-8324-7AEDF1988E54}"/>
                </a:ext>
              </a:extLst>
            </p:cNvPr>
            <p:cNvGrpSpPr/>
            <p:nvPr/>
          </p:nvGrpSpPr>
          <p:grpSpPr>
            <a:xfrm>
              <a:off x="4113015" y="1061248"/>
              <a:ext cx="1031810" cy="286259"/>
              <a:chOff x="4298082" y="1214613"/>
              <a:chExt cx="454893" cy="161585"/>
            </a:xfrm>
          </p:grpSpPr>
          <p:sp>
            <p:nvSpPr>
              <p:cNvPr id="53" name="Rectangle: Top Corners Rounded 52">
                <a:extLst>
                  <a:ext uri="{FF2B5EF4-FFF2-40B4-BE49-F238E27FC236}">
                    <a16:creationId xmlns:a16="http://schemas.microsoft.com/office/drawing/2014/main" id="{DB6CF441-580F-4D0B-B847-F587F454E7EB}"/>
                  </a:ext>
                </a:extLst>
              </p:cNvPr>
              <p:cNvSpPr/>
              <p:nvPr/>
            </p:nvSpPr>
            <p:spPr>
              <a:xfrm rot="5400000">
                <a:off x="4444736" y="1067959"/>
                <a:ext cx="161585" cy="45489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8F9EB3CB-40B5-4621-9A61-28DCC4295BCC}"/>
                  </a:ext>
                </a:extLst>
              </p:cNvPr>
              <p:cNvSpPr txBox="1"/>
              <p:nvPr/>
            </p:nvSpPr>
            <p:spPr>
              <a:xfrm>
                <a:off x="4348971" y="1214614"/>
                <a:ext cx="354791" cy="138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7667901-DED2-4354-9A6E-00B3A3082854}"/>
                </a:ext>
              </a:extLst>
            </p:cNvPr>
            <p:cNvGrpSpPr/>
            <p:nvPr/>
          </p:nvGrpSpPr>
          <p:grpSpPr>
            <a:xfrm>
              <a:off x="7959816" y="3402854"/>
              <a:ext cx="805870" cy="286259"/>
              <a:chOff x="4291964" y="1194029"/>
              <a:chExt cx="454893" cy="161585"/>
            </a:xfrm>
          </p:grpSpPr>
          <p:sp>
            <p:nvSpPr>
              <p:cNvPr id="51" name="Rectangle: Top Corners Rounded 50">
                <a:extLst>
                  <a:ext uri="{FF2B5EF4-FFF2-40B4-BE49-F238E27FC236}">
                    <a16:creationId xmlns:a16="http://schemas.microsoft.com/office/drawing/2014/main" id="{B276E34F-3CC3-4F8B-9653-92502C6B6729}"/>
                  </a:ext>
                </a:extLst>
              </p:cNvPr>
              <p:cNvSpPr/>
              <p:nvPr/>
            </p:nvSpPr>
            <p:spPr>
              <a:xfrm rot="5400000">
                <a:off x="4438618" y="1047375"/>
                <a:ext cx="161585" cy="45489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83D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7B765EB-D391-45F3-8F07-D619AEA146AB}"/>
                  </a:ext>
                </a:extLst>
              </p:cNvPr>
              <p:cNvSpPr txBox="1"/>
              <p:nvPr/>
            </p:nvSpPr>
            <p:spPr>
              <a:xfrm>
                <a:off x="4345574" y="1200327"/>
                <a:ext cx="354791" cy="138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fte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086D716E-73B9-45BF-983B-1CC1BAB69B81}"/>
                </a:ext>
              </a:extLst>
            </p:cNvPr>
            <p:cNvGrpSpPr/>
            <p:nvPr/>
          </p:nvGrpSpPr>
          <p:grpSpPr>
            <a:xfrm>
              <a:off x="7981799" y="1061247"/>
              <a:ext cx="1031810" cy="286259"/>
              <a:chOff x="6003709" y="-127741"/>
              <a:chExt cx="454893" cy="161585"/>
            </a:xfrm>
          </p:grpSpPr>
          <p:sp>
            <p:nvSpPr>
              <p:cNvPr id="49" name="Rectangle: Top Corners Rounded 48">
                <a:extLst>
                  <a:ext uri="{FF2B5EF4-FFF2-40B4-BE49-F238E27FC236}">
                    <a16:creationId xmlns:a16="http://schemas.microsoft.com/office/drawing/2014/main" id="{AB873603-0842-48DD-A384-0FCABEE791F8}"/>
                  </a:ext>
                </a:extLst>
              </p:cNvPr>
              <p:cNvSpPr/>
              <p:nvPr/>
            </p:nvSpPr>
            <p:spPr>
              <a:xfrm rot="5400000">
                <a:off x="6150363" y="-274395"/>
                <a:ext cx="161585" cy="45489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BB87F2F-4AB2-4869-8D3B-CC5A26637DFF}"/>
                  </a:ext>
                </a:extLst>
              </p:cNvPr>
              <p:cNvSpPr txBox="1"/>
              <p:nvPr/>
            </p:nvSpPr>
            <p:spPr>
              <a:xfrm>
                <a:off x="6054598" y="-123378"/>
                <a:ext cx="354791" cy="138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for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B398C44-202B-4CD0-91AA-8602E76B6186}"/>
              </a:ext>
            </a:extLst>
          </p:cNvPr>
          <p:cNvGrpSpPr/>
          <p:nvPr/>
        </p:nvGrpSpPr>
        <p:grpSpPr>
          <a:xfrm>
            <a:off x="548670" y="1872723"/>
            <a:ext cx="1818153" cy="576263"/>
            <a:chOff x="617538" y="1927225"/>
            <a:chExt cx="1818153" cy="576263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0EBFFAE-89B5-40ED-8926-6DED1B284DB8}"/>
                </a:ext>
              </a:extLst>
            </p:cNvPr>
            <p:cNvGrpSpPr/>
            <p:nvPr/>
          </p:nvGrpSpPr>
          <p:grpSpPr>
            <a:xfrm>
              <a:off x="1385353" y="1985477"/>
              <a:ext cx="1050338" cy="459757"/>
              <a:chOff x="1302338" y="1896979"/>
              <a:chExt cx="1050338" cy="459757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013AA5C-7782-4370-9DF2-5B9C2E771986}"/>
                  </a:ext>
                </a:extLst>
              </p:cNvPr>
              <p:cNvSpPr/>
              <p:nvPr/>
            </p:nvSpPr>
            <p:spPr>
              <a:xfrm>
                <a:off x="1302338" y="1896979"/>
                <a:ext cx="1050338" cy="27699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24 HOUR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992A51F-6AEB-495D-A5AC-A787B3575487}"/>
                  </a:ext>
                </a:extLst>
              </p:cNvPr>
              <p:cNvSpPr/>
              <p:nvPr/>
            </p:nvSpPr>
            <p:spPr>
              <a:xfrm>
                <a:off x="1302338" y="2187459"/>
                <a:ext cx="1050338" cy="1692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TURN AROUND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0C6ECA8-9686-4FB4-AD9D-4CE3A09CF87E}"/>
                </a:ext>
              </a:extLst>
            </p:cNvPr>
            <p:cNvGrpSpPr/>
            <p:nvPr/>
          </p:nvGrpSpPr>
          <p:grpSpPr>
            <a:xfrm>
              <a:off x="617538" y="1927225"/>
              <a:ext cx="577851" cy="576263"/>
              <a:chOff x="617538" y="1927225"/>
              <a:chExt cx="577851" cy="576263"/>
            </a:xfrm>
          </p:grpSpPr>
          <p:sp>
            <p:nvSpPr>
              <p:cNvPr id="35" name="Oval 20">
                <a:extLst>
                  <a:ext uri="{FF2B5EF4-FFF2-40B4-BE49-F238E27FC236}">
                    <a16:creationId xmlns:a16="http://schemas.microsoft.com/office/drawing/2014/main" id="{B6BDD336-3321-48CD-98FE-04EE05FA5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538" y="1927225"/>
                <a:ext cx="577850" cy="5762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21">
                <a:extLst>
                  <a:ext uri="{FF2B5EF4-FFF2-40B4-BE49-F238E27FC236}">
                    <a16:creationId xmlns:a16="http://schemas.microsoft.com/office/drawing/2014/main" id="{61318166-2F5C-4156-A1AA-3D779696B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726" y="1943100"/>
                <a:ext cx="474663" cy="560388"/>
              </a:xfrm>
              <a:custGeom>
                <a:avLst/>
                <a:gdLst>
                  <a:gd name="T0" fmla="*/ 469 w 469"/>
                  <a:gd name="T1" fmla="*/ 270 h 555"/>
                  <a:gd name="T2" fmla="*/ 183 w 469"/>
                  <a:gd name="T3" fmla="*/ 555 h 555"/>
                  <a:gd name="T4" fmla="*/ 0 w 469"/>
                  <a:gd name="T5" fmla="*/ 489 h 555"/>
                  <a:gd name="T6" fmla="*/ 93 w 469"/>
                  <a:gd name="T7" fmla="*/ 505 h 555"/>
                  <a:gd name="T8" fmla="*/ 378 w 469"/>
                  <a:gd name="T9" fmla="*/ 219 h 555"/>
                  <a:gd name="T10" fmla="*/ 276 w 469"/>
                  <a:gd name="T11" fmla="*/ 0 h 555"/>
                  <a:gd name="T12" fmla="*/ 469 w 469"/>
                  <a:gd name="T13" fmla="*/ 270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555">
                    <a:moveTo>
                      <a:pt x="469" y="270"/>
                    </a:moveTo>
                    <a:cubicBezTo>
                      <a:pt x="469" y="428"/>
                      <a:pt x="341" y="555"/>
                      <a:pt x="183" y="555"/>
                    </a:cubicBezTo>
                    <a:cubicBezTo>
                      <a:pt x="114" y="555"/>
                      <a:pt x="50" y="531"/>
                      <a:pt x="0" y="489"/>
                    </a:cubicBezTo>
                    <a:cubicBezTo>
                      <a:pt x="29" y="499"/>
                      <a:pt x="61" y="505"/>
                      <a:pt x="93" y="505"/>
                    </a:cubicBezTo>
                    <a:cubicBezTo>
                      <a:pt x="251" y="505"/>
                      <a:pt x="378" y="377"/>
                      <a:pt x="378" y="219"/>
                    </a:cubicBezTo>
                    <a:cubicBezTo>
                      <a:pt x="378" y="131"/>
                      <a:pt x="339" y="53"/>
                      <a:pt x="276" y="0"/>
                    </a:cubicBezTo>
                    <a:cubicBezTo>
                      <a:pt x="388" y="39"/>
                      <a:pt x="469" y="145"/>
                      <a:pt x="469" y="270"/>
                    </a:cubicBezTo>
                    <a:close/>
                  </a:path>
                </a:pathLst>
              </a:custGeom>
              <a:solidFill>
                <a:srgbClr val="D1E3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Oval 22">
                <a:extLst>
                  <a:ext uri="{FF2B5EF4-FFF2-40B4-BE49-F238E27FC236}">
                    <a16:creationId xmlns:a16="http://schemas.microsoft.com/office/drawing/2014/main" id="{D455DBDB-2778-4DC6-BAF1-046735421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538" y="1927225"/>
                <a:ext cx="577850" cy="576263"/>
              </a:xfrm>
              <a:prstGeom prst="ellipse">
                <a:avLst/>
              </a:pr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23">
                <a:extLst>
                  <a:ext uri="{FF2B5EF4-FFF2-40B4-BE49-F238E27FC236}">
                    <a16:creationId xmlns:a16="http://schemas.microsoft.com/office/drawing/2014/main" id="{16EA931E-A4BF-4D4E-8CE2-111C26006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113" y="2081213"/>
                <a:ext cx="261938" cy="268288"/>
              </a:xfrm>
              <a:custGeom>
                <a:avLst/>
                <a:gdLst>
                  <a:gd name="T0" fmla="*/ 260 w 260"/>
                  <a:gd name="T1" fmla="*/ 168 h 266"/>
                  <a:gd name="T2" fmla="*/ 132 w 260"/>
                  <a:gd name="T3" fmla="*/ 266 h 266"/>
                  <a:gd name="T4" fmla="*/ 0 w 260"/>
                  <a:gd name="T5" fmla="*/ 133 h 266"/>
                  <a:gd name="T6" fmla="*/ 132 w 260"/>
                  <a:gd name="T7" fmla="*/ 0 h 266"/>
                  <a:gd name="T8" fmla="*/ 206 w 260"/>
                  <a:gd name="T9" fmla="*/ 2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0" h="266">
                    <a:moveTo>
                      <a:pt x="260" y="168"/>
                    </a:moveTo>
                    <a:cubicBezTo>
                      <a:pt x="245" y="224"/>
                      <a:pt x="193" y="266"/>
                      <a:pt x="132" y="266"/>
                    </a:cubicBezTo>
                    <a:cubicBezTo>
                      <a:pt x="59" y="266"/>
                      <a:pt x="0" y="206"/>
                      <a:pt x="0" y="133"/>
                    </a:cubicBezTo>
                    <a:cubicBezTo>
                      <a:pt x="0" y="60"/>
                      <a:pt x="59" y="0"/>
                      <a:pt x="132" y="0"/>
                    </a:cubicBezTo>
                    <a:cubicBezTo>
                      <a:pt x="160" y="0"/>
                      <a:pt x="185" y="9"/>
                      <a:pt x="206" y="23"/>
                    </a:cubicBezTo>
                  </a:path>
                </a:pathLst>
              </a:cu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Line 24">
                <a:extLst>
                  <a:ext uri="{FF2B5EF4-FFF2-40B4-BE49-F238E27FC236}">
                    <a16:creationId xmlns:a16="http://schemas.microsoft.com/office/drawing/2014/main" id="{6F53E387-57BE-4150-BA2B-25CFB8BDF7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06463" y="2124075"/>
                <a:ext cx="139700" cy="92075"/>
              </a:xfrm>
              <a:prstGeom prst="line">
                <a:avLst/>
              </a:pr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Line 25">
                <a:extLst>
                  <a:ext uri="{FF2B5EF4-FFF2-40B4-BE49-F238E27FC236}">
                    <a16:creationId xmlns:a16="http://schemas.microsoft.com/office/drawing/2014/main" id="{71511633-13B0-450E-B901-E0D5FDF8E9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6463" y="2216150"/>
                <a:ext cx="166688" cy="0"/>
              </a:xfrm>
              <a:prstGeom prst="line">
                <a:avLst/>
              </a:pr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Line 26">
                <a:extLst>
                  <a:ext uri="{FF2B5EF4-FFF2-40B4-BE49-F238E27FC236}">
                    <a16:creationId xmlns:a16="http://schemas.microsoft.com/office/drawing/2014/main" id="{9CC26BA7-888E-4489-B957-33C2C6DC33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5513" y="2105025"/>
                <a:ext cx="55563" cy="19050"/>
              </a:xfrm>
              <a:prstGeom prst="line">
                <a:avLst/>
              </a:pr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Line 27">
                <a:extLst>
                  <a:ext uri="{FF2B5EF4-FFF2-40B4-BE49-F238E27FC236}">
                    <a16:creationId xmlns:a16="http://schemas.microsoft.com/office/drawing/2014/main" id="{288DD468-98E7-4E29-95FF-E52436137E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62026" y="2049463"/>
                <a:ext cx="19050" cy="55563"/>
              </a:xfrm>
              <a:prstGeom prst="line">
                <a:avLst/>
              </a:prstGeom>
              <a:noFill/>
              <a:ln w="25400" cap="rnd">
                <a:solidFill>
                  <a:srgbClr val="7AC2F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C30F045-AFB9-460A-A184-05C3EE6ED7FB}"/>
              </a:ext>
            </a:extLst>
          </p:cNvPr>
          <p:cNvGrpSpPr/>
          <p:nvPr/>
        </p:nvGrpSpPr>
        <p:grpSpPr>
          <a:xfrm>
            <a:off x="548670" y="2612638"/>
            <a:ext cx="1822302" cy="605234"/>
            <a:chOff x="613389" y="2657566"/>
            <a:chExt cx="1822302" cy="60523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06C0FD-04D2-4BF3-B40D-ADC6C98264F1}"/>
                </a:ext>
              </a:extLst>
            </p:cNvPr>
            <p:cNvGrpSpPr/>
            <p:nvPr/>
          </p:nvGrpSpPr>
          <p:grpSpPr>
            <a:xfrm>
              <a:off x="1385353" y="2730304"/>
              <a:ext cx="1050338" cy="459757"/>
              <a:chOff x="1302338" y="1896979"/>
              <a:chExt cx="1050338" cy="459757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355A87B-EDFB-4F83-96D5-469E3F03FC4D}"/>
                  </a:ext>
                </a:extLst>
              </p:cNvPr>
              <p:cNvSpPr/>
              <p:nvPr/>
            </p:nvSpPr>
            <p:spPr>
              <a:xfrm>
                <a:off x="1302338" y="1896979"/>
                <a:ext cx="1050338" cy="27699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From $10 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6836C00C-76EF-42CC-8403-D034698E39A2}"/>
                  </a:ext>
                </a:extLst>
              </p:cNvPr>
              <p:cNvSpPr/>
              <p:nvPr/>
            </p:nvSpPr>
            <p:spPr>
              <a:xfrm>
                <a:off x="1302338" y="2187459"/>
                <a:ext cx="1050338" cy="1692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PER SLIDE</a:t>
                </a:r>
              </a:p>
            </p:txBody>
          </p:sp>
        </p:grp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145E8AE-B638-4BDF-B39F-4172DF63C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3389" y="2657566"/>
              <a:ext cx="605940" cy="605234"/>
            </a:xfrm>
            <a:prstGeom prst="rect">
              <a:avLst/>
            </a:prstGeom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B25EA466-A0FB-4288-9662-4BDA48C25210}"/>
              </a:ext>
            </a:extLst>
          </p:cNvPr>
          <p:cNvSpPr/>
          <p:nvPr/>
        </p:nvSpPr>
        <p:spPr>
          <a:xfrm>
            <a:off x="548670" y="3437968"/>
            <a:ext cx="3425682" cy="14288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03A1C3-0DF5-45E3-A4F0-B7059CED2FE7}"/>
              </a:ext>
            </a:extLst>
          </p:cNvPr>
          <p:cNvSpPr/>
          <p:nvPr/>
        </p:nvSpPr>
        <p:spPr>
          <a:xfrm>
            <a:off x="548670" y="5086911"/>
            <a:ext cx="308134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b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640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70D7D8-2B11-4986-828C-A3BD2E9DCA0D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5678BA-68B9-4A32-A1DA-5A3DBBFEE56B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F8E707-5FA8-4A7A-8CC0-7E1D611210A1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73EE6F1-4D49-4FA6-86AC-710CFB10CBC4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5DCE04B-92E5-443A-859E-76E5A650AE8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1A18BA41-8802-404C-9252-6AC20CCA972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5F2F3F4F-910F-4FDF-8253-7375AA22CD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3693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EEFE431-EA5D-41A7-9B1F-19C54D21FBFF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871EFDD-5F5A-40E1-8FAF-1EB224B688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6003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6E7BB956-CA47-4BB6-B718-8079A009E2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B2CCDAA-E64A-4AA4-84A6-DE707051DA4C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1BEE7FC-4757-4AFD-A173-C976759F7B0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310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93B5D5AA-99B5-4B9D-94C8-4BC7C82DA3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14825DE-CE04-4EE6-A9AD-24807F6C2CD2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77F90C6-84B1-4B93-B347-A8F82457EA27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AAE4C1B-8D70-429A-95B6-F4095DC2BBC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20" name="Freeform 254">
              <a:extLst>
                <a:ext uri="{FF2B5EF4-FFF2-40B4-BE49-F238E27FC236}">
                  <a16:creationId xmlns:a16="http://schemas.microsoft.com/office/drawing/2014/main" id="{D47EDBA2-1832-4737-ACFE-B25AF8E7F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55">
              <a:extLst>
                <a:ext uri="{FF2B5EF4-FFF2-40B4-BE49-F238E27FC236}">
                  <a16:creationId xmlns:a16="http://schemas.microsoft.com/office/drawing/2014/main" id="{B51EEB29-54E0-42BB-84A7-0106DCC12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56">
              <a:extLst>
                <a:ext uri="{FF2B5EF4-FFF2-40B4-BE49-F238E27FC236}">
                  <a16:creationId xmlns:a16="http://schemas.microsoft.com/office/drawing/2014/main" id="{67A52429-950A-494A-8A61-67FAAD440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57">
              <a:extLst>
                <a:ext uri="{FF2B5EF4-FFF2-40B4-BE49-F238E27FC236}">
                  <a16:creationId xmlns:a16="http://schemas.microsoft.com/office/drawing/2014/main" id="{747A327E-20D2-4820-ABEC-0BD33402F2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58">
              <a:extLst>
                <a:ext uri="{FF2B5EF4-FFF2-40B4-BE49-F238E27FC236}">
                  <a16:creationId xmlns:a16="http://schemas.microsoft.com/office/drawing/2014/main" id="{513962DD-1520-4A09-A7A3-A6A315BD76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59">
              <a:extLst>
                <a:ext uri="{FF2B5EF4-FFF2-40B4-BE49-F238E27FC236}">
                  <a16:creationId xmlns:a16="http://schemas.microsoft.com/office/drawing/2014/main" id="{05ACD714-5938-4B8E-B363-B2C214614F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60">
              <a:extLst>
                <a:ext uri="{FF2B5EF4-FFF2-40B4-BE49-F238E27FC236}">
                  <a16:creationId xmlns:a16="http://schemas.microsoft.com/office/drawing/2014/main" id="{99D9BF46-9096-4A2F-AA53-6696CFE05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1">
              <a:extLst>
                <a:ext uri="{FF2B5EF4-FFF2-40B4-BE49-F238E27FC236}">
                  <a16:creationId xmlns:a16="http://schemas.microsoft.com/office/drawing/2014/main" id="{F8C4024A-AEDD-4C4D-B4A0-34A256550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62">
              <a:extLst>
                <a:ext uri="{FF2B5EF4-FFF2-40B4-BE49-F238E27FC236}">
                  <a16:creationId xmlns:a16="http://schemas.microsoft.com/office/drawing/2014/main" id="{A98F20EE-34A8-429B-AFF9-584BA3E68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DBD79BB-AC5C-49CB-8714-C49D9399A7C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95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B5BD985-7FAB-46B9-92EF-E4BEA8CE0DFB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F63B42-A721-411C-807A-AE4BA5206864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7A2565C-4E99-4D2D-91EE-6FC8A9BAD8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2EAAF107-BF57-4130-A674-DBC8CF0B64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4B8BADA1-5564-4B41-8D27-F51F708759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F95779C2-43FF-4103-996A-7CAFA56701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2707E4A9-E3B8-4BFC-BF85-D012C5C66A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1E945C2B-CCEC-43A7-B865-AA8629BBDFC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34A6410A-C2F8-40F5-87DF-B45807EDFA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C3874F6D-4531-4651-9538-923704F4C6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A869D95F-F568-40FB-A7A5-1CA83FB984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C0753A1F-A369-4FCE-BF24-7760C8EA12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A42281A7-1409-412D-9C9A-B04A633C09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735917EF-F13F-4C0D-9D91-D2314D14D6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CB8734C8-F452-4F43-BD0B-3E9D95E5DF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D89A206E-072E-489C-866A-5AA56F60AA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BB0933E-A92B-4F4D-A4EC-B42A78895CE2}"/>
                </a:ext>
              </a:extLst>
            </p:cNvPr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12136FD-E712-42B7-B564-E5FC19A7D3CA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10DEF1-91B0-4318-8C02-6D6314229C33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E455516-DA94-488F-A282-429FAAD14D39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676BDF-CE42-4CE7-A23F-B05851EFF527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9D87DFC-96F2-4BEA-8CF9-D60EDDCAA034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1450994-A91A-4248-A843-69B01DAB1343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6ADD39C-2027-4F11-9427-DE63736884F0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34B12F-5E69-42D5-A7F9-CEE2CA226ECD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F9F8994-0212-41AA-9BA0-2D599B5CD54E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2F8EE45-EB9C-4AAA-9D1D-D1EDDFA2FCC7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E1734AD-816B-41FA-9D74-497A704D7CCE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30A8D5D-41BA-4315-9F02-683AB4FBB2CE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1BB34F9E-0404-4DBD-A713-3BCD3BABB709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11C741-D1B5-4CDD-AA5C-81355A93FCBB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1B060DA-F8B7-4804-910A-C4491DF53758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26C6FB7-80EC-4FCD-9738-57B789EE66E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5F949BB-723D-4235-92BA-F5F7263C0DCF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2607097-A746-4398-9335-75246CB8906A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3806817-525E-4A5C-B887-C39819EB36F6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EE58801-64A6-4F37-B0F6-96D09C71AFB9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B086136-6782-4AB4-B76B-E7C04AEB1738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3C2119C2-B355-49E8-9731-46C449B001CF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9C0AC91-560A-44B8-BAB3-17BCC898AFF2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45" name="Freeform 84">
              <a:extLst>
                <a:ext uri="{FF2B5EF4-FFF2-40B4-BE49-F238E27FC236}">
                  <a16:creationId xmlns:a16="http://schemas.microsoft.com/office/drawing/2014/main" id="{1F384AB7-BA6F-4407-89E0-7BE1FC8AB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85">
              <a:extLst>
                <a:ext uri="{FF2B5EF4-FFF2-40B4-BE49-F238E27FC236}">
                  <a16:creationId xmlns:a16="http://schemas.microsoft.com/office/drawing/2014/main" id="{F93566EF-95E2-47C0-B2C6-8D612BC2A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86">
              <a:extLst>
                <a:ext uri="{FF2B5EF4-FFF2-40B4-BE49-F238E27FC236}">
                  <a16:creationId xmlns:a16="http://schemas.microsoft.com/office/drawing/2014/main" id="{D263FBB3-C9CE-4880-9457-3BB3B371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87">
              <a:extLst>
                <a:ext uri="{FF2B5EF4-FFF2-40B4-BE49-F238E27FC236}">
                  <a16:creationId xmlns:a16="http://schemas.microsoft.com/office/drawing/2014/main" id="{11C9323D-0345-4F0F-9532-107978E64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88">
              <a:extLst>
                <a:ext uri="{FF2B5EF4-FFF2-40B4-BE49-F238E27FC236}">
                  <a16:creationId xmlns:a16="http://schemas.microsoft.com/office/drawing/2014/main" id="{98280858-06DF-4F96-B36C-0080BCBEE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89">
              <a:extLst>
                <a:ext uri="{FF2B5EF4-FFF2-40B4-BE49-F238E27FC236}">
                  <a16:creationId xmlns:a16="http://schemas.microsoft.com/office/drawing/2014/main" id="{D0E49BDA-923B-4289-894B-88CD5227A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90">
              <a:extLst>
                <a:ext uri="{FF2B5EF4-FFF2-40B4-BE49-F238E27FC236}">
                  <a16:creationId xmlns:a16="http://schemas.microsoft.com/office/drawing/2014/main" id="{D136790F-DA65-4475-82CE-BFB01B8E9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91">
              <a:extLst>
                <a:ext uri="{FF2B5EF4-FFF2-40B4-BE49-F238E27FC236}">
                  <a16:creationId xmlns:a16="http://schemas.microsoft.com/office/drawing/2014/main" id="{89506869-D79B-436F-B629-6813A2FD9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92">
              <a:extLst>
                <a:ext uri="{FF2B5EF4-FFF2-40B4-BE49-F238E27FC236}">
                  <a16:creationId xmlns:a16="http://schemas.microsoft.com/office/drawing/2014/main" id="{38690AD0-F8A9-4DCF-9B22-3C86B7781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93">
              <a:extLst>
                <a:ext uri="{FF2B5EF4-FFF2-40B4-BE49-F238E27FC236}">
                  <a16:creationId xmlns:a16="http://schemas.microsoft.com/office/drawing/2014/main" id="{4EBBA94A-F7E0-467C-A150-BE61242D9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96">
              <a:extLst>
                <a:ext uri="{FF2B5EF4-FFF2-40B4-BE49-F238E27FC236}">
                  <a16:creationId xmlns:a16="http://schemas.microsoft.com/office/drawing/2014/main" id="{EF1FFF73-ACDF-49B8-95E5-F042942C0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97">
              <a:extLst>
                <a:ext uri="{FF2B5EF4-FFF2-40B4-BE49-F238E27FC236}">
                  <a16:creationId xmlns:a16="http://schemas.microsoft.com/office/drawing/2014/main" id="{5C4F26DD-5E03-429B-884E-5B3501B16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Oval 98">
              <a:extLst>
                <a:ext uri="{FF2B5EF4-FFF2-40B4-BE49-F238E27FC236}">
                  <a16:creationId xmlns:a16="http://schemas.microsoft.com/office/drawing/2014/main" id="{23D35415-6F3A-4497-BF3A-96C7AB9A2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107">
              <a:extLst>
                <a:ext uri="{FF2B5EF4-FFF2-40B4-BE49-F238E27FC236}">
                  <a16:creationId xmlns:a16="http://schemas.microsoft.com/office/drawing/2014/main" id="{503071CB-068A-4A38-8EEC-7ACB503E1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08">
              <a:extLst>
                <a:ext uri="{FF2B5EF4-FFF2-40B4-BE49-F238E27FC236}">
                  <a16:creationId xmlns:a16="http://schemas.microsoft.com/office/drawing/2014/main" id="{CE5A7FAE-FEF7-424E-BA13-66CCF3B4E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109">
              <a:extLst>
                <a:ext uri="{FF2B5EF4-FFF2-40B4-BE49-F238E27FC236}">
                  <a16:creationId xmlns:a16="http://schemas.microsoft.com/office/drawing/2014/main" id="{78F10457-C38D-474F-B4CC-0E96D0460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110">
              <a:extLst>
                <a:ext uri="{FF2B5EF4-FFF2-40B4-BE49-F238E27FC236}">
                  <a16:creationId xmlns:a16="http://schemas.microsoft.com/office/drawing/2014/main" id="{A54ED111-098B-4948-9526-0CF4EF97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111">
              <a:extLst>
                <a:ext uri="{FF2B5EF4-FFF2-40B4-BE49-F238E27FC236}">
                  <a16:creationId xmlns:a16="http://schemas.microsoft.com/office/drawing/2014/main" id="{8F583D51-FF93-4282-8C1A-B99E47A35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112">
              <a:extLst>
                <a:ext uri="{FF2B5EF4-FFF2-40B4-BE49-F238E27FC236}">
                  <a16:creationId xmlns:a16="http://schemas.microsoft.com/office/drawing/2014/main" id="{3E506365-7946-451E-9282-950CC6CB7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113">
              <a:extLst>
                <a:ext uri="{FF2B5EF4-FFF2-40B4-BE49-F238E27FC236}">
                  <a16:creationId xmlns:a16="http://schemas.microsoft.com/office/drawing/2014/main" id="{D2985246-BEDD-4520-9597-778B8F8B5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114">
              <a:extLst>
                <a:ext uri="{FF2B5EF4-FFF2-40B4-BE49-F238E27FC236}">
                  <a16:creationId xmlns:a16="http://schemas.microsoft.com/office/drawing/2014/main" id="{09F1C808-6D9F-42B1-B129-312520CD3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15">
              <a:extLst>
                <a:ext uri="{FF2B5EF4-FFF2-40B4-BE49-F238E27FC236}">
                  <a16:creationId xmlns:a16="http://schemas.microsoft.com/office/drawing/2014/main" id="{C4DC3B3A-F60A-4D7E-8DA9-01C5E341C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16">
              <a:extLst>
                <a:ext uri="{FF2B5EF4-FFF2-40B4-BE49-F238E27FC236}">
                  <a16:creationId xmlns:a16="http://schemas.microsoft.com/office/drawing/2014/main" id="{0DE87B2E-F58C-4773-AB65-474BFFEE9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Oval 117">
              <a:extLst>
                <a:ext uri="{FF2B5EF4-FFF2-40B4-BE49-F238E27FC236}">
                  <a16:creationId xmlns:a16="http://schemas.microsoft.com/office/drawing/2014/main" id="{76DF21DB-FA6D-4FFA-AECE-F533862DA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18">
              <a:extLst>
                <a:ext uri="{FF2B5EF4-FFF2-40B4-BE49-F238E27FC236}">
                  <a16:creationId xmlns:a16="http://schemas.microsoft.com/office/drawing/2014/main" id="{7D7176BF-5547-465D-B95C-7C4483BC0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19">
              <a:extLst>
                <a:ext uri="{FF2B5EF4-FFF2-40B4-BE49-F238E27FC236}">
                  <a16:creationId xmlns:a16="http://schemas.microsoft.com/office/drawing/2014/main" id="{C67DC0EA-25CF-458A-8AB0-E18F04449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3DF5AE5-470D-46D3-9C16-A772EC8FBB74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79" name="Freeform 233">
                <a:extLst>
                  <a:ext uri="{FF2B5EF4-FFF2-40B4-BE49-F238E27FC236}">
                    <a16:creationId xmlns:a16="http://schemas.microsoft.com/office/drawing/2014/main" id="{197BE1BC-DE73-4C5A-9D25-3F581448D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 234">
                <a:extLst>
                  <a:ext uri="{FF2B5EF4-FFF2-40B4-BE49-F238E27FC236}">
                    <a16:creationId xmlns:a16="http://schemas.microsoft.com/office/drawing/2014/main" id="{2B6DE227-D802-47D9-B6FD-026D8DE3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Oval 235">
                <a:extLst>
                  <a:ext uri="{FF2B5EF4-FFF2-40B4-BE49-F238E27FC236}">
                    <a16:creationId xmlns:a16="http://schemas.microsoft.com/office/drawing/2014/main" id="{1CCAF85F-D568-4420-AE03-02A31A79C2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236">
                <a:extLst>
                  <a:ext uri="{FF2B5EF4-FFF2-40B4-BE49-F238E27FC236}">
                    <a16:creationId xmlns:a16="http://schemas.microsoft.com/office/drawing/2014/main" id="{55A14F20-8D9A-4D7F-9E42-8D2FEBE2B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 237">
                <a:extLst>
                  <a:ext uri="{FF2B5EF4-FFF2-40B4-BE49-F238E27FC236}">
                    <a16:creationId xmlns:a16="http://schemas.microsoft.com/office/drawing/2014/main" id="{94606A70-D255-4A7D-8326-AB1F4CC2D7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EBF3B4F-05E9-4880-9542-7D579CD8F97C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3D58E40-F8C3-4338-9FF0-0D35438A4128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74" name="Freeform 233">
                <a:extLst>
                  <a:ext uri="{FF2B5EF4-FFF2-40B4-BE49-F238E27FC236}">
                    <a16:creationId xmlns:a16="http://schemas.microsoft.com/office/drawing/2014/main" id="{8814D8C1-6E18-4A66-8348-93955177DC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234">
                <a:extLst>
                  <a:ext uri="{FF2B5EF4-FFF2-40B4-BE49-F238E27FC236}">
                    <a16:creationId xmlns:a16="http://schemas.microsoft.com/office/drawing/2014/main" id="{D554EA9F-ABFA-4DBB-981F-3EA972C56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Oval 235">
                <a:extLst>
                  <a:ext uri="{FF2B5EF4-FFF2-40B4-BE49-F238E27FC236}">
                    <a16:creationId xmlns:a16="http://schemas.microsoft.com/office/drawing/2014/main" id="{1DB39029-81B2-41F7-A169-61F7C9CDC5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236">
                <a:extLst>
                  <a:ext uri="{FF2B5EF4-FFF2-40B4-BE49-F238E27FC236}">
                    <a16:creationId xmlns:a16="http://schemas.microsoft.com/office/drawing/2014/main" id="{90A3EED2-EDB9-4FDC-8A25-538E251B6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237">
                <a:extLst>
                  <a:ext uri="{FF2B5EF4-FFF2-40B4-BE49-F238E27FC236}">
                    <a16:creationId xmlns:a16="http://schemas.microsoft.com/office/drawing/2014/main" id="{D80E56E6-986C-42E1-A37E-114048426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75BFED0D-BF37-45FA-8835-6D2762E47F6B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EF4EB09-84B3-4585-B493-1B5F9666B20F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86" name="Rounded Rectangle 109">
            <a:extLst>
              <a:ext uri="{FF2B5EF4-FFF2-40B4-BE49-F238E27FC236}">
                <a16:creationId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880D8C6-3CED-4C58-A839-84EDD69AFFAF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1" name="Freeform 254">
              <a:extLst>
                <a:ext uri="{FF2B5EF4-FFF2-40B4-BE49-F238E27FC236}">
                  <a16:creationId xmlns:a16="http://schemas.microsoft.com/office/drawing/2014/main" id="{BFC2B5FB-4F5C-45E0-8493-B33AAEC85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255">
              <a:extLst>
                <a:ext uri="{FF2B5EF4-FFF2-40B4-BE49-F238E27FC236}">
                  <a16:creationId xmlns:a16="http://schemas.microsoft.com/office/drawing/2014/main" id="{492DD7C3-F70D-4BF9-9275-FBF4A41B9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256">
              <a:extLst>
                <a:ext uri="{FF2B5EF4-FFF2-40B4-BE49-F238E27FC236}">
                  <a16:creationId xmlns:a16="http://schemas.microsoft.com/office/drawing/2014/main" id="{D9CA0ECE-C2D1-4743-A68B-BF17E361C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7">
              <a:extLst>
                <a:ext uri="{FF2B5EF4-FFF2-40B4-BE49-F238E27FC236}">
                  <a16:creationId xmlns:a16="http://schemas.microsoft.com/office/drawing/2014/main" id="{C2A5C0E5-0A7F-4457-ACE6-52451A2AE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8">
              <a:extLst>
                <a:ext uri="{FF2B5EF4-FFF2-40B4-BE49-F238E27FC236}">
                  <a16:creationId xmlns:a16="http://schemas.microsoft.com/office/drawing/2014/main" id="{1AD618D7-91EF-4B16-8774-6173CCB10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9">
              <a:extLst>
                <a:ext uri="{FF2B5EF4-FFF2-40B4-BE49-F238E27FC236}">
                  <a16:creationId xmlns:a16="http://schemas.microsoft.com/office/drawing/2014/main" id="{A5DA33DA-6578-4D7A-AEF7-AF3ABFEC30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60">
              <a:extLst>
                <a:ext uri="{FF2B5EF4-FFF2-40B4-BE49-F238E27FC236}">
                  <a16:creationId xmlns:a16="http://schemas.microsoft.com/office/drawing/2014/main" id="{44F6A4F1-52A9-4993-AA21-1624A33BC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Rectangle 261">
              <a:extLst>
                <a:ext uri="{FF2B5EF4-FFF2-40B4-BE49-F238E27FC236}">
                  <a16:creationId xmlns:a16="http://schemas.microsoft.com/office/drawing/2014/main" id="{9F46095B-D9A5-4DD2-8090-79C4585C05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2">
              <a:extLst>
                <a:ext uri="{FF2B5EF4-FFF2-40B4-BE49-F238E27FC236}">
                  <a16:creationId xmlns:a16="http://schemas.microsoft.com/office/drawing/2014/main" id="{6FFBFFFD-AD04-4B14-B141-65C722AB7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34D641BA-D96F-435B-9157-8D9B93CF5044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72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5">
            <a:extLst>
              <a:ext uri="{FF2B5EF4-FFF2-40B4-BE49-F238E27FC236}">
                <a16:creationId xmlns:a16="http://schemas.microsoft.com/office/drawing/2014/main" id="{00A14A9A-B624-6A57-6235-15FC018C538B}"/>
              </a:ext>
            </a:extLst>
          </p:cNvPr>
          <p:cNvSpPr/>
          <p:nvPr/>
        </p:nvSpPr>
        <p:spPr>
          <a:xfrm>
            <a:off x="6910466" y="0"/>
            <a:ext cx="5281534" cy="5905500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CC6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1A097-3982-2395-C092-2D923FF01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6" y="365126"/>
            <a:ext cx="6170108" cy="141548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36638D"/>
                </a:solidFill>
              </a:rPr>
              <a:t>Do you need car insurance?</a:t>
            </a:r>
            <a:endParaRPr lang="en-ID" dirty="0">
              <a:solidFill>
                <a:srgbClr val="36638D"/>
              </a:solidFill>
            </a:endParaRPr>
          </a:p>
        </p:txBody>
      </p:sp>
      <p:pic>
        <p:nvPicPr>
          <p:cNvPr id="5" name="Content Placeholder 4" descr="A white sports car&#10;&#10;Description automatically generated with medium confidence">
            <a:extLst>
              <a:ext uri="{FF2B5EF4-FFF2-40B4-BE49-F238E27FC236}">
                <a16:creationId xmlns:a16="http://schemas.microsoft.com/office/drawing/2014/main" id="{03EADC3C-E5D9-1273-67BD-C94B33FFC2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5" t="17951" r="14156" b="16329"/>
          <a:stretch/>
        </p:blipFill>
        <p:spPr>
          <a:xfrm>
            <a:off x="5962649" y="3257551"/>
            <a:ext cx="6819901" cy="3086100"/>
          </a:xfr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4284CDE-6A69-ED8B-6971-73CB13CC3B74}"/>
              </a:ext>
            </a:extLst>
          </p:cNvPr>
          <p:cNvSpPr/>
          <p:nvPr/>
        </p:nvSpPr>
        <p:spPr>
          <a:xfrm>
            <a:off x="535215" y="2079814"/>
            <a:ext cx="772960" cy="772960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BD0EDA-58C0-AFCA-CE7B-D308639734FC}"/>
              </a:ext>
            </a:extLst>
          </p:cNvPr>
          <p:cNvSpPr/>
          <p:nvPr/>
        </p:nvSpPr>
        <p:spPr>
          <a:xfrm>
            <a:off x="3722840" y="2079814"/>
            <a:ext cx="772960" cy="772960"/>
          </a:xfrm>
          <a:prstGeom prst="rect">
            <a:avLst/>
          </a:prstGeom>
          <a:solidFill>
            <a:srgbClr val="FE8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3C8DCC-43DD-DC99-4524-073C4AFED3DA}"/>
              </a:ext>
            </a:extLst>
          </p:cNvPr>
          <p:cNvSpPr/>
          <p:nvPr/>
        </p:nvSpPr>
        <p:spPr>
          <a:xfrm>
            <a:off x="535215" y="3138376"/>
            <a:ext cx="2750530" cy="77296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0C3CBA-1F5B-906F-8C08-CA8184AADEFA}"/>
              </a:ext>
            </a:extLst>
          </p:cNvPr>
          <p:cNvSpPr/>
          <p:nvPr/>
        </p:nvSpPr>
        <p:spPr>
          <a:xfrm>
            <a:off x="3722841" y="3138376"/>
            <a:ext cx="2750530" cy="77296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957952-051A-238D-1309-A1F8A4B5E4F6}"/>
              </a:ext>
            </a:extLst>
          </p:cNvPr>
          <p:cNvSpPr/>
          <p:nvPr/>
        </p:nvSpPr>
        <p:spPr>
          <a:xfrm>
            <a:off x="535215" y="4067290"/>
            <a:ext cx="2750530" cy="185336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Vestibulum an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7245661-3DAC-97DC-B415-96B8DED60C3B}"/>
              </a:ext>
            </a:extLst>
          </p:cNvPr>
          <p:cNvSpPr/>
          <p:nvPr/>
        </p:nvSpPr>
        <p:spPr>
          <a:xfrm>
            <a:off x="3722841" y="4067290"/>
            <a:ext cx="2373159" cy="185336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FF48CF-5019-75D5-3735-6BECD6101D8A}"/>
              </a:ext>
            </a:extLst>
          </p:cNvPr>
          <p:cNvGrpSpPr/>
          <p:nvPr/>
        </p:nvGrpSpPr>
        <p:grpSpPr>
          <a:xfrm>
            <a:off x="756674" y="2275953"/>
            <a:ext cx="330042" cy="380683"/>
            <a:chOff x="7019925" y="2894013"/>
            <a:chExt cx="300038" cy="346075"/>
          </a:xfrm>
        </p:grpSpPr>
        <p:sp>
          <p:nvSpPr>
            <p:cNvPr id="16" name="Freeform 290">
              <a:extLst>
                <a:ext uri="{FF2B5EF4-FFF2-40B4-BE49-F238E27FC236}">
                  <a16:creationId xmlns:a16="http://schemas.microsoft.com/office/drawing/2014/main" id="{429AEF4E-D662-D445-F4D1-12FAAA843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925" y="2894013"/>
              <a:ext cx="300038" cy="346075"/>
            </a:xfrm>
            <a:custGeom>
              <a:avLst/>
              <a:gdLst>
                <a:gd name="T0" fmla="*/ 60 w 80"/>
                <a:gd name="T1" fmla="*/ 9 h 92"/>
                <a:gd name="T2" fmla="*/ 40 w 80"/>
                <a:gd name="T3" fmla="*/ 0 h 92"/>
                <a:gd name="T4" fmla="*/ 40 w 80"/>
                <a:gd name="T5" fmla="*/ 0 h 92"/>
                <a:gd name="T6" fmla="*/ 20 w 80"/>
                <a:gd name="T7" fmla="*/ 9 h 92"/>
                <a:gd name="T8" fmla="*/ 0 w 80"/>
                <a:gd name="T9" fmla="*/ 2 h 92"/>
                <a:gd name="T10" fmla="*/ 0 w 80"/>
                <a:gd name="T11" fmla="*/ 61 h 92"/>
                <a:gd name="T12" fmla="*/ 40 w 80"/>
                <a:gd name="T13" fmla="*/ 92 h 92"/>
                <a:gd name="T14" fmla="*/ 80 w 80"/>
                <a:gd name="T15" fmla="*/ 61 h 92"/>
                <a:gd name="T16" fmla="*/ 80 w 80"/>
                <a:gd name="T17" fmla="*/ 2 h 92"/>
                <a:gd name="T18" fmla="*/ 60 w 80"/>
                <a:gd name="T19" fmla="*/ 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92">
                  <a:moveTo>
                    <a:pt x="60" y="9"/>
                  </a:moveTo>
                  <a:cubicBezTo>
                    <a:pt x="52" y="9"/>
                    <a:pt x="45" y="6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5" y="6"/>
                    <a:pt x="28" y="9"/>
                    <a:pt x="20" y="9"/>
                  </a:cubicBezTo>
                  <a:cubicBezTo>
                    <a:pt x="13" y="9"/>
                    <a:pt x="7" y="7"/>
                    <a:pt x="0" y="2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6" y="82"/>
                    <a:pt x="40" y="92"/>
                  </a:cubicBezTo>
                  <a:cubicBezTo>
                    <a:pt x="74" y="82"/>
                    <a:pt x="80" y="61"/>
                    <a:pt x="80" y="61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3" y="7"/>
                    <a:pt x="67" y="9"/>
                    <a:pt x="60" y="9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291">
              <a:extLst>
                <a:ext uri="{FF2B5EF4-FFF2-40B4-BE49-F238E27FC236}">
                  <a16:creationId xmlns:a16="http://schemas.microsoft.com/office/drawing/2014/main" id="{918D50A2-1270-CB99-5D85-0D210C539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2475" y="3014663"/>
              <a:ext cx="158750" cy="131763"/>
            </a:xfrm>
            <a:custGeom>
              <a:avLst/>
              <a:gdLst>
                <a:gd name="T0" fmla="*/ 100 w 100"/>
                <a:gd name="T1" fmla="*/ 0 h 83"/>
                <a:gd name="T2" fmla="*/ 43 w 100"/>
                <a:gd name="T3" fmla="*/ 83 h 83"/>
                <a:gd name="T4" fmla="*/ 0 w 100"/>
                <a:gd name="T5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83">
                  <a:moveTo>
                    <a:pt x="100" y="0"/>
                  </a:moveTo>
                  <a:lnTo>
                    <a:pt x="43" y="83"/>
                  </a:lnTo>
                  <a:lnTo>
                    <a:pt x="0" y="38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FFD3597-D350-6513-A101-816C46977612}"/>
              </a:ext>
            </a:extLst>
          </p:cNvPr>
          <p:cNvGrpSpPr/>
          <p:nvPr/>
        </p:nvGrpSpPr>
        <p:grpSpPr>
          <a:xfrm>
            <a:off x="3935568" y="2275953"/>
            <a:ext cx="347504" cy="380683"/>
            <a:chOff x="10220929" y="2320926"/>
            <a:chExt cx="315913" cy="346075"/>
          </a:xfrm>
        </p:grpSpPr>
        <p:sp>
          <p:nvSpPr>
            <p:cNvPr id="19" name="Freeform 846">
              <a:extLst>
                <a:ext uri="{FF2B5EF4-FFF2-40B4-BE49-F238E27FC236}">
                  <a16:creationId xmlns:a16="http://schemas.microsoft.com/office/drawing/2014/main" id="{379783DE-1949-184A-CDF8-578A47820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3317" y="2320926"/>
              <a:ext cx="263525" cy="203200"/>
            </a:xfrm>
            <a:custGeom>
              <a:avLst/>
              <a:gdLst>
                <a:gd name="T0" fmla="*/ 52 w 70"/>
                <a:gd name="T1" fmla="*/ 54 h 54"/>
                <a:gd name="T2" fmla="*/ 70 w 70"/>
                <a:gd name="T3" fmla="*/ 28 h 54"/>
                <a:gd name="T4" fmla="*/ 52 w 70"/>
                <a:gd name="T5" fmla="*/ 28 h 54"/>
                <a:gd name="T6" fmla="*/ 58 w 70"/>
                <a:gd name="T7" fmla="*/ 0 h 54"/>
                <a:gd name="T8" fmla="*/ 28 w 70"/>
                <a:gd name="T9" fmla="*/ 26 h 54"/>
                <a:gd name="T10" fmla="*/ 12 w 70"/>
                <a:gd name="T11" fmla="*/ 11 h 54"/>
                <a:gd name="T12" fmla="*/ 12 w 70"/>
                <a:gd name="T1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54">
                  <a:moveTo>
                    <a:pt x="52" y="54"/>
                  </a:moveTo>
                  <a:cubicBezTo>
                    <a:pt x="70" y="48"/>
                    <a:pt x="70" y="28"/>
                    <a:pt x="70" y="28"/>
                  </a:cubicBezTo>
                  <a:cubicBezTo>
                    <a:pt x="70" y="28"/>
                    <a:pt x="62" y="32"/>
                    <a:pt x="52" y="28"/>
                  </a:cubicBezTo>
                  <a:cubicBezTo>
                    <a:pt x="52" y="28"/>
                    <a:pt x="50" y="12"/>
                    <a:pt x="58" y="0"/>
                  </a:cubicBezTo>
                  <a:cubicBezTo>
                    <a:pt x="46" y="2"/>
                    <a:pt x="26" y="12"/>
                    <a:pt x="28" y="26"/>
                  </a:cubicBezTo>
                  <a:cubicBezTo>
                    <a:pt x="20" y="26"/>
                    <a:pt x="12" y="11"/>
                    <a:pt x="12" y="11"/>
                  </a:cubicBezTo>
                  <a:cubicBezTo>
                    <a:pt x="12" y="11"/>
                    <a:pt x="0" y="30"/>
                    <a:pt x="12" y="4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Rectangle 847">
              <a:extLst>
                <a:ext uri="{FF2B5EF4-FFF2-40B4-BE49-F238E27FC236}">
                  <a16:creationId xmlns:a16="http://schemas.microsoft.com/office/drawing/2014/main" id="{CE66278F-1726-6878-957B-1500893AC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6804" y="2636838"/>
              <a:ext cx="44450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Rectangle 848">
              <a:extLst>
                <a:ext uri="{FF2B5EF4-FFF2-40B4-BE49-F238E27FC236}">
                  <a16:creationId xmlns:a16="http://schemas.microsoft.com/office/drawing/2014/main" id="{D35090B7-0D30-08AE-961B-10BA93A6C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6354" y="2636838"/>
              <a:ext cx="46038" cy="3016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849">
              <a:extLst>
                <a:ext uri="{FF2B5EF4-FFF2-40B4-BE49-F238E27FC236}">
                  <a16:creationId xmlns:a16="http://schemas.microsoft.com/office/drawing/2014/main" id="{BCC79F4E-9FA6-954D-4A30-DB5174B9B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0929" y="2546351"/>
              <a:ext cx="285750" cy="90488"/>
            </a:xfrm>
            <a:custGeom>
              <a:avLst/>
              <a:gdLst>
                <a:gd name="T0" fmla="*/ 180 w 180"/>
                <a:gd name="T1" fmla="*/ 57 h 57"/>
                <a:gd name="T2" fmla="*/ 180 w 180"/>
                <a:gd name="T3" fmla="*/ 19 h 57"/>
                <a:gd name="T4" fmla="*/ 161 w 180"/>
                <a:gd name="T5" fmla="*/ 0 h 57"/>
                <a:gd name="T6" fmla="*/ 19 w 180"/>
                <a:gd name="T7" fmla="*/ 0 h 57"/>
                <a:gd name="T8" fmla="*/ 0 w 180"/>
                <a:gd name="T9" fmla="*/ 19 h 57"/>
                <a:gd name="T10" fmla="*/ 0 w 180"/>
                <a:gd name="T11" fmla="*/ 57 h 57"/>
                <a:gd name="T12" fmla="*/ 180 w 180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57">
                  <a:moveTo>
                    <a:pt x="180" y="57"/>
                  </a:moveTo>
                  <a:lnTo>
                    <a:pt x="180" y="19"/>
                  </a:ln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180" y="57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850">
              <a:extLst>
                <a:ext uri="{FF2B5EF4-FFF2-40B4-BE49-F238E27FC236}">
                  <a16:creationId xmlns:a16="http://schemas.microsoft.com/office/drawing/2014/main" id="{AD06AFED-764B-2D7D-23FF-801924049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1092" y="2471738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Line 851">
              <a:extLst>
                <a:ext uri="{FF2B5EF4-FFF2-40B4-BE49-F238E27FC236}">
                  <a16:creationId xmlns:a16="http://schemas.microsoft.com/office/drawing/2014/main" id="{E58BD737-1E70-0BC7-0F8B-29A5390DF3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220929" y="2606676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Line 852">
              <a:extLst>
                <a:ext uri="{FF2B5EF4-FFF2-40B4-BE49-F238E27FC236}">
                  <a16:creationId xmlns:a16="http://schemas.microsoft.com/office/drawing/2014/main" id="{C06D9CC0-805F-9778-09E9-C8CD0892C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38417" y="2606676"/>
              <a:ext cx="68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853">
              <a:extLst>
                <a:ext uri="{FF2B5EF4-FFF2-40B4-BE49-F238E27FC236}">
                  <a16:creationId xmlns:a16="http://schemas.microsoft.com/office/drawing/2014/main" id="{339AF5F3-1483-6B31-5193-869A0979D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5704" y="2397126"/>
              <a:ext cx="173038" cy="104775"/>
            </a:xfrm>
            <a:custGeom>
              <a:avLst/>
              <a:gdLst>
                <a:gd name="T0" fmla="*/ 6 w 46"/>
                <a:gd name="T1" fmla="*/ 20 h 28"/>
                <a:gd name="T2" fmla="*/ 2 w 46"/>
                <a:gd name="T3" fmla="*/ 8 h 28"/>
                <a:gd name="T4" fmla="*/ 28 w 46"/>
                <a:gd name="T5" fmla="*/ 0 h 28"/>
                <a:gd name="T6" fmla="*/ 46 w 46"/>
                <a:gd name="T7" fmla="*/ 16 h 28"/>
                <a:gd name="T8" fmla="*/ 36 w 4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8">
                  <a:moveTo>
                    <a:pt x="6" y="20"/>
                  </a:moveTo>
                  <a:cubicBezTo>
                    <a:pt x="6" y="20"/>
                    <a:pt x="0" y="16"/>
                    <a:pt x="2" y="8"/>
                  </a:cubicBezTo>
                  <a:cubicBezTo>
                    <a:pt x="6" y="13"/>
                    <a:pt x="18" y="23"/>
                    <a:pt x="28" y="0"/>
                  </a:cubicBezTo>
                  <a:cubicBezTo>
                    <a:pt x="30" y="16"/>
                    <a:pt x="33" y="19"/>
                    <a:pt x="46" y="16"/>
                  </a:cubicBezTo>
                  <a:cubicBezTo>
                    <a:pt x="36" y="28"/>
                    <a:pt x="36" y="28"/>
                    <a:pt x="36" y="28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AE16CB9-CC98-D9CE-1205-D421DF82A8D2}"/>
              </a:ext>
            </a:extLst>
          </p:cNvPr>
          <p:cNvSpPr/>
          <p:nvPr/>
        </p:nvSpPr>
        <p:spPr>
          <a:xfrm>
            <a:off x="7421189" y="1248230"/>
            <a:ext cx="4235596" cy="256199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Vestibulum ante ipsum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mi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ucib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uctus</a:t>
            </a:r>
            <a:r>
              <a:rPr lang="en-US" sz="20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572F2AE-538A-E4F4-BC50-B203010EE2DD}"/>
              </a:ext>
            </a:extLst>
          </p:cNvPr>
          <p:cNvGrpSpPr/>
          <p:nvPr/>
        </p:nvGrpSpPr>
        <p:grpSpPr>
          <a:xfrm>
            <a:off x="7240539" y="817564"/>
            <a:ext cx="416831" cy="309262"/>
            <a:chOff x="7005638" y="1855788"/>
            <a:chExt cx="344488" cy="255588"/>
          </a:xfrm>
        </p:grpSpPr>
        <p:sp>
          <p:nvSpPr>
            <p:cNvPr id="29" name="Freeform 106">
              <a:extLst>
                <a:ext uri="{FF2B5EF4-FFF2-40B4-BE49-F238E27FC236}">
                  <a16:creationId xmlns:a16="http://schemas.microsoft.com/office/drawing/2014/main" id="{61128742-0366-BF89-BFE6-6CDD4E3CA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55788"/>
              <a:ext cx="157163" cy="180975"/>
            </a:xfrm>
            <a:custGeom>
              <a:avLst/>
              <a:gdLst>
                <a:gd name="T0" fmla="*/ 42 w 42"/>
                <a:gd name="T1" fmla="*/ 0 h 48"/>
                <a:gd name="T2" fmla="*/ 0 w 42"/>
                <a:gd name="T3" fmla="*/ 42 h 48"/>
                <a:gd name="T4" fmla="*/ 0 w 42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107">
              <a:extLst>
                <a:ext uri="{FF2B5EF4-FFF2-40B4-BE49-F238E27FC236}">
                  <a16:creationId xmlns:a16="http://schemas.microsoft.com/office/drawing/2014/main" id="{4CF92DB5-7429-2B54-BD1A-66178095A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5638" y="1962151"/>
              <a:ext cx="149225" cy="149225"/>
            </a:xfrm>
            <a:prstGeom prst="ellipse">
              <a:avLst/>
            </a:pr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08">
              <a:extLst>
                <a:ext uri="{FF2B5EF4-FFF2-40B4-BE49-F238E27FC236}">
                  <a16:creationId xmlns:a16="http://schemas.microsoft.com/office/drawing/2014/main" id="{789A5E19-32A7-C98F-9F1D-2069B4032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2963" y="1855788"/>
              <a:ext cx="157163" cy="180975"/>
            </a:xfrm>
            <a:custGeom>
              <a:avLst/>
              <a:gdLst>
                <a:gd name="T0" fmla="*/ 42 w 42"/>
                <a:gd name="T1" fmla="*/ 0 h 48"/>
                <a:gd name="T2" fmla="*/ 0 w 42"/>
                <a:gd name="T3" fmla="*/ 42 h 48"/>
                <a:gd name="T4" fmla="*/ 0 w 42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09">
              <a:extLst>
                <a:ext uri="{FF2B5EF4-FFF2-40B4-BE49-F238E27FC236}">
                  <a16:creationId xmlns:a16="http://schemas.microsoft.com/office/drawing/2014/main" id="{88B9B0FF-D9F1-4178-9BDD-3771BF696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2963" y="1962151"/>
              <a:ext cx="150813" cy="149225"/>
            </a:xfrm>
            <a:prstGeom prst="ellipse">
              <a:avLst/>
            </a:pr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A7617DD-DBBC-4807-156B-0CFE6E7F8F0D}"/>
              </a:ext>
            </a:extLst>
          </p:cNvPr>
          <p:cNvGrpSpPr/>
          <p:nvPr/>
        </p:nvGrpSpPr>
        <p:grpSpPr>
          <a:xfrm>
            <a:off x="11620447" y="3024189"/>
            <a:ext cx="418751" cy="309262"/>
            <a:chOff x="7726363" y="1855788"/>
            <a:chExt cx="346075" cy="255588"/>
          </a:xfrm>
        </p:grpSpPr>
        <p:sp>
          <p:nvSpPr>
            <p:cNvPr id="34" name="Freeform 242">
              <a:extLst>
                <a:ext uri="{FF2B5EF4-FFF2-40B4-BE49-F238E27FC236}">
                  <a16:creationId xmlns:a16="http://schemas.microsoft.com/office/drawing/2014/main" id="{F6EC9362-1B9B-6B84-2915-56995970E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688" y="1931988"/>
              <a:ext cx="158750" cy="179388"/>
            </a:xfrm>
            <a:custGeom>
              <a:avLst/>
              <a:gdLst>
                <a:gd name="T0" fmla="*/ 0 w 42"/>
                <a:gd name="T1" fmla="*/ 48 h 48"/>
                <a:gd name="T2" fmla="*/ 42 w 42"/>
                <a:gd name="T3" fmla="*/ 6 h 48"/>
                <a:gd name="T4" fmla="*/ 42 w 42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0" y="48"/>
                  </a:moveTo>
                  <a:cubicBezTo>
                    <a:pt x="23" y="48"/>
                    <a:pt x="42" y="29"/>
                    <a:pt x="42" y="6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243">
              <a:extLst>
                <a:ext uri="{FF2B5EF4-FFF2-40B4-BE49-F238E27FC236}">
                  <a16:creationId xmlns:a16="http://schemas.microsoft.com/office/drawing/2014/main" id="{78F7F6A5-B8B5-8B62-2079-4634C17853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1625" y="1855788"/>
              <a:ext cx="150813" cy="150813"/>
            </a:xfrm>
            <a:prstGeom prst="ellipse">
              <a:avLst/>
            </a:pr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244">
              <a:extLst>
                <a:ext uri="{FF2B5EF4-FFF2-40B4-BE49-F238E27FC236}">
                  <a16:creationId xmlns:a16="http://schemas.microsoft.com/office/drawing/2014/main" id="{C8D07CA5-1FB8-5894-950F-8AF5E2E74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1931988"/>
              <a:ext cx="157163" cy="179388"/>
            </a:xfrm>
            <a:custGeom>
              <a:avLst/>
              <a:gdLst>
                <a:gd name="T0" fmla="*/ 0 w 42"/>
                <a:gd name="T1" fmla="*/ 48 h 48"/>
                <a:gd name="T2" fmla="*/ 42 w 42"/>
                <a:gd name="T3" fmla="*/ 6 h 48"/>
                <a:gd name="T4" fmla="*/ 42 w 42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48">
                  <a:moveTo>
                    <a:pt x="0" y="48"/>
                  </a:moveTo>
                  <a:cubicBezTo>
                    <a:pt x="23" y="48"/>
                    <a:pt x="42" y="29"/>
                    <a:pt x="42" y="6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Oval 245">
              <a:extLst>
                <a:ext uri="{FF2B5EF4-FFF2-40B4-BE49-F238E27FC236}">
                  <a16:creationId xmlns:a16="http://schemas.microsoft.com/office/drawing/2014/main" id="{FBB04644-218B-4E3B-290F-2CEDDEC3D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34300" y="1855788"/>
              <a:ext cx="149225" cy="150813"/>
            </a:xfrm>
            <a:prstGeom prst="ellipse">
              <a:avLst/>
            </a:prstGeom>
            <a:noFill/>
            <a:ln w="1905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D19C6B4-E242-9D8A-A348-C2BF6C09825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7683EE-0281-A748-31CE-FBECAA429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88149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c 7">
            <a:extLst>
              <a:ext uri="{FF2B5EF4-FFF2-40B4-BE49-F238E27FC236}">
                <a16:creationId xmlns:a16="http://schemas.microsoft.com/office/drawing/2014/main" id="{8BF452CA-0583-174C-05C2-29535262532A}"/>
              </a:ext>
            </a:extLst>
          </p:cNvPr>
          <p:cNvSpPr/>
          <p:nvPr/>
        </p:nvSpPr>
        <p:spPr>
          <a:xfrm>
            <a:off x="3935839" y="2427698"/>
            <a:ext cx="4320322" cy="4320322"/>
          </a:xfrm>
          <a:prstGeom prst="arc">
            <a:avLst>
              <a:gd name="adj1" fmla="val 10006281"/>
              <a:gd name="adj2" fmla="val 2038246"/>
            </a:avLst>
          </a:prstGeom>
          <a:ln>
            <a:solidFill>
              <a:srgbClr val="FE875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6119A0-9272-F977-E244-F42827D2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Overview </a:t>
            </a:r>
            <a:endParaRPr lang="en-ID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E1179DA-9DAC-DB3D-A078-F5907A215C15}"/>
              </a:ext>
            </a:extLst>
          </p:cNvPr>
          <p:cNvSpPr/>
          <p:nvPr/>
        </p:nvSpPr>
        <p:spPr>
          <a:xfrm rot="5400000">
            <a:off x="4206413" y="3450766"/>
            <a:ext cx="3779173" cy="2990850"/>
          </a:xfrm>
          <a:prstGeom prst="roundRect">
            <a:avLst>
              <a:gd name="adj" fmla="val 50000"/>
            </a:avLst>
          </a:prstGeom>
          <a:solidFill>
            <a:srgbClr val="3663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8CBCF3-2E5B-D901-EE30-669E94D9B8D2}"/>
              </a:ext>
            </a:extLst>
          </p:cNvPr>
          <p:cNvSpPr/>
          <p:nvPr/>
        </p:nvSpPr>
        <p:spPr>
          <a:xfrm>
            <a:off x="4600574" y="4900153"/>
            <a:ext cx="2990850" cy="1959214"/>
          </a:xfrm>
          <a:prstGeom prst="rect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7" name="Content Placeholder 6" descr="A picture containing car, outdoor, transport, parked&#10;&#10;Description automatically generated">
            <a:extLst>
              <a:ext uri="{FF2B5EF4-FFF2-40B4-BE49-F238E27FC236}">
                <a16:creationId xmlns:a16="http://schemas.microsoft.com/office/drawing/2014/main" id="{0DA59607-4BC2-F550-55BD-8D8B361D7F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859" y="4027598"/>
            <a:ext cx="6314282" cy="2347633"/>
          </a:xfr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9B4D75E-C1BF-BCB5-4797-A3F4CA0EC8C6}"/>
              </a:ext>
            </a:extLst>
          </p:cNvPr>
          <p:cNvSpPr/>
          <p:nvPr/>
        </p:nvSpPr>
        <p:spPr>
          <a:xfrm>
            <a:off x="3819246" y="3644285"/>
            <a:ext cx="527792" cy="527792"/>
          </a:xfrm>
          <a:prstGeom prst="ellipse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5CBAA7B-A53E-BA14-4403-02415042434D}"/>
              </a:ext>
            </a:extLst>
          </p:cNvPr>
          <p:cNvSpPr/>
          <p:nvPr/>
        </p:nvSpPr>
        <p:spPr>
          <a:xfrm>
            <a:off x="7846790" y="3644285"/>
            <a:ext cx="527792" cy="527792"/>
          </a:xfrm>
          <a:prstGeom prst="ellipse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60DD77D-18AF-DE71-23F7-CA1463587BF7}"/>
              </a:ext>
            </a:extLst>
          </p:cNvPr>
          <p:cNvSpPr>
            <a:spLocks/>
          </p:cNvSpPr>
          <p:nvPr/>
        </p:nvSpPr>
        <p:spPr bwMode="auto">
          <a:xfrm>
            <a:off x="3960835" y="3784183"/>
            <a:ext cx="244615" cy="247996"/>
          </a:xfrm>
          <a:custGeom>
            <a:avLst/>
            <a:gdLst>
              <a:gd name="T0" fmla="*/ 217 w 217"/>
              <a:gd name="T1" fmla="*/ 0 h 220"/>
              <a:gd name="T2" fmla="*/ 61 w 217"/>
              <a:gd name="T3" fmla="*/ 220 h 220"/>
              <a:gd name="T4" fmla="*/ 0 w 217"/>
              <a:gd name="T5" fmla="*/ 15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" h="220">
                <a:moveTo>
                  <a:pt x="217" y="0"/>
                </a:moveTo>
                <a:lnTo>
                  <a:pt x="61" y="220"/>
                </a:lnTo>
                <a:lnTo>
                  <a:pt x="0" y="157"/>
                </a:ln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347D27D-5C25-65C6-7598-02F5A9ACD24A}"/>
              </a:ext>
            </a:extLst>
          </p:cNvPr>
          <p:cNvGrpSpPr/>
          <p:nvPr/>
        </p:nvGrpSpPr>
        <p:grpSpPr>
          <a:xfrm>
            <a:off x="4973961" y="2290730"/>
            <a:ext cx="527792" cy="527792"/>
            <a:chOff x="4779366" y="2417465"/>
            <a:chExt cx="527792" cy="527792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622438F-CE81-31D7-F1E4-189333C6F5EF}"/>
                </a:ext>
              </a:extLst>
            </p:cNvPr>
            <p:cNvSpPr/>
            <p:nvPr/>
          </p:nvSpPr>
          <p:spPr>
            <a:xfrm>
              <a:off x="4779366" y="2417465"/>
              <a:ext cx="527792" cy="527792"/>
            </a:xfrm>
            <a:prstGeom prst="ellipse">
              <a:avLst/>
            </a:prstGeom>
            <a:solidFill>
              <a:srgbClr val="ABD1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1CED8D31-CB58-9713-C337-DCE62B032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955" y="2557363"/>
              <a:ext cx="244615" cy="247996"/>
            </a:xfrm>
            <a:custGeom>
              <a:avLst/>
              <a:gdLst>
                <a:gd name="T0" fmla="*/ 217 w 217"/>
                <a:gd name="T1" fmla="*/ 0 h 220"/>
                <a:gd name="T2" fmla="*/ 61 w 217"/>
                <a:gd name="T3" fmla="*/ 220 h 220"/>
                <a:gd name="T4" fmla="*/ 0 w 217"/>
                <a:gd name="T5" fmla="*/ 15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7" h="220">
                  <a:moveTo>
                    <a:pt x="217" y="0"/>
                  </a:moveTo>
                  <a:lnTo>
                    <a:pt x="61" y="220"/>
                  </a:lnTo>
                  <a:lnTo>
                    <a:pt x="0" y="15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6" name="Freeform 9">
            <a:extLst>
              <a:ext uri="{FF2B5EF4-FFF2-40B4-BE49-F238E27FC236}">
                <a16:creationId xmlns:a16="http://schemas.microsoft.com/office/drawing/2014/main" id="{BF3BC146-206B-9340-6AB9-A967DAC6C45B}"/>
              </a:ext>
            </a:extLst>
          </p:cNvPr>
          <p:cNvSpPr>
            <a:spLocks/>
          </p:cNvSpPr>
          <p:nvPr/>
        </p:nvSpPr>
        <p:spPr bwMode="auto">
          <a:xfrm>
            <a:off x="7988379" y="3784183"/>
            <a:ext cx="244615" cy="247996"/>
          </a:xfrm>
          <a:custGeom>
            <a:avLst/>
            <a:gdLst>
              <a:gd name="T0" fmla="*/ 217 w 217"/>
              <a:gd name="T1" fmla="*/ 0 h 220"/>
              <a:gd name="T2" fmla="*/ 61 w 217"/>
              <a:gd name="T3" fmla="*/ 220 h 220"/>
              <a:gd name="T4" fmla="*/ 0 w 217"/>
              <a:gd name="T5" fmla="*/ 15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" h="220">
                <a:moveTo>
                  <a:pt x="217" y="0"/>
                </a:moveTo>
                <a:lnTo>
                  <a:pt x="61" y="220"/>
                </a:lnTo>
                <a:lnTo>
                  <a:pt x="0" y="157"/>
                </a:lnTo>
              </a:path>
            </a:pathLst>
          </a:custGeom>
          <a:noFill/>
          <a:ln w="15875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B6892E-5342-1CB8-411F-7989C7812AEA}"/>
              </a:ext>
            </a:extLst>
          </p:cNvPr>
          <p:cNvSpPr/>
          <p:nvPr/>
        </p:nvSpPr>
        <p:spPr>
          <a:xfrm>
            <a:off x="2159000" y="3644286"/>
            <a:ext cx="1444472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D35B07-78A3-500E-6E39-A94883FBA188}"/>
              </a:ext>
            </a:extLst>
          </p:cNvPr>
          <p:cNvSpPr/>
          <p:nvPr/>
        </p:nvSpPr>
        <p:spPr>
          <a:xfrm>
            <a:off x="520699" y="3644286"/>
            <a:ext cx="1519879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B41ECB-A66D-B897-4C2F-F6315587F417}"/>
              </a:ext>
            </a:extLst>
          </p:cNvPr>
          <p:cNvSpPr/>
          <p:nvPr/>
        </p:nvSpPr>
        <p:spPr>
          <a:xfrm>
            <a:off x="3312424" y="2052647"/>
            <a:ext cx="1444472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98809B-ACB2-D8DF-5C33-6360BCCB45C0}"/>
              </a:ext>
            </a:extLst>
          </p:cNvPr>
          <p:cNvSpPr/>
          <p:nvPr/>
        </p:nvSpPr>
        <p:spPr>
          <a:xfrm>
            <a:off x="535215" y="2052647"/>
            <a:ext cx="2635621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9F6C2D-CC1D-2798-9F21-F265F63C1912}"/>
              </a:ext>
            </a:extLst>
          </p:cNvPr>
          <p:cNvSpPr/>
          <p:nvPr/>
        </p:nvSpPr>
        <p:spPr>
          <a:xfrm>
            <a:off x="8583016" y="3644286"/>
            <a:ext cx="1444472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DF20200-20A6-4004-0055-34ED52C49F6B}"/>
              </a:ext>
            </a:extLst>
          </p:cNvPr>
          <p:cNvSpPr/>
          <p:nvPr/>
        </p:nvSpPr>
        <p:spPr>
          <a:xfrm>
            <a:off x="10143671" y="3644286"/>
            <a:ext cx="1519879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13D07D0-8B9F-DEAE-DD5B-6F236B6216B9}"/>
              </a:ext>
            </a:extLst>
          </p:cNvPr>
          <p:cNvSpPr/>
          <p:nvPr/>
        </p:nvSpPr>
        <p:spPr>
          <a:xfrm>
            <a:off x="7438878" y="2052647"/>
            <a:ext cx="1444472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1F273D-D843-8456-E2A6-8722D9981BC8}"/>
              </a:ext>
            </a:extLst>
          </p:cNvPr>
          <p:cNvSpPr/>
          <p:nvPr/>
        </p:nvSpPr>
        <p:spPr>
          <a:xfrm>
            <a:off x="9027694" y="2052647"/>
            <a:ext cx="2635621" cy="5277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2AED7BF-1804-C37D-5412-F20A860CC0B6}"/>
              </a:ext>
            </a:extLst>
          </p:cNvPr>
          <p:cNvGrpSpPr/>
          <p:nvPr/>
        </p:nvGrpSpPr>
        <p:grpSpPr>
          <a:xfrm>
            <a:off x="6615061" y="2290730"/>
            <a:ext cx="527792" cy="527792"/>
            <a:chOff x="4779366" y="2417465"/>
            <a:chExt cx="527792" cy="527792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442CA51-0948-F327-3905-6051CA0BC165}"/>
                </a:ext>
              </a:extLst>
            </p:cNvPr>
            <p:cNvSpPr/>
            <p:nvPr/>
          </p:nvSpPr>
          <p:spPr>
            <a:xfrm>
              <a:off x="4779366" y="2417465"/>
              <a:ext cx="527792" cy="527792"/>
            </a:xfrm>
            <a:prstGeom prst="ellipse">
              <a:avLst/>
            </a:prstGeom>
            <a:solidFill>
              <a:srgbClr val="ABD1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DA3C4627-C8A6-0829-A681-3089C8F9D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955" y="2557363"/>
              <a:ext cx="244615" cy="247996"/>
            </a:xfrm>
            <a:custGeom>
              <a:avLst/>
              <a:gdLst>
                <a:gd name="T0" fmla="*/ 217 w 217"/>
                <a:gd name="T1" fmla="*/ 0 h 220"/>
                <a:gd name="T2" fmla="*/ 61 w 217"/>
                <a:gd name="T3" fmla="*/ 220 h 220"/>
                <a:gd name="T4" fmla="*/ 0 w 217"/>
                <a:gd name="T5" fmla="*/ 15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7" h="220">
                  <a:moveTo>
                    <a:pt x="217" y="0"/>
                  </a:moveTo>
                  <a:lnTo>
                    <a:pt x="61" y="220"/>
                  </a:lnTo>
                  <a:lnTo>
                    <a:pt x="0" y="15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7EB1D4-1BBA-EFD4-9CA2-1755024E6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6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627544-A79E-16B6-D6AF-5596DE6FD6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574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D1BCE07-232F-916F-39FB-00D4C954A502}"/>
              </a:ext>
            </a:extLst>
          </p:cNvPr>
          <p:cNvSpPr/>
          <p:nvPr/>
        </p:nvSpPr>
        <p:spPr>
          <a:xfrm>
            <a:off x="535215" y="1312205"/>
            <a:ext cx="9098335" cy="245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A67224-1805-3E37-71FF-80349B64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Car insurance plan</a:t>
            </a:r>
            <a:endParaRPr lang="en-ID" dirty="0"/>
          </a:p>
        </p:txBody>
      </p:sp>
      <p:pic>
        <p:nvPicPr>
          <p:cNvPr id="8" name="Content Placeholder 7" descr="A tree fallen on a car&#10;&#10;Description automatically generated with low confidence">
            <a:extLst>
              <a:ext uri="{FF2B5EF4-FFF2-40B4-BE49-F238E27FC236}">
                <a16:creationId xmlns:a16="http://schemas.microsoft.com/office/drawing/2014/main" id="{265968D1-306F-AD34-199E-36C929996E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" t="38119" r="3226" b="1798"/>
          <a:stretch/>
        </p:blipFill>
        <p:spPr>
          <a:xfrm>
            <a:off x="7810500" y="2"/>
            <a:ext cx="4381094" cy="4168731"/>
          </a:xfrm>
          <a:custGeom>
            <a:avLst/>
            <a:gdLst>
              <a:gd name="connsiteX0" fmla="*/ 145680 w 4381094"/>
              <a:gd name="connsiteY0" fmla="*/ 0 h 4168731"/>
              <a:gd name="connsiteX1" fmla="*/ 4381094 w 4381094"/>
              <a:gd name="connsiteY1" fmla="*/ 0 h 4168731"/>
              <a:gd name="connsiteX2" fmla="*/ 4381094 w 4381094"/>
              <a:gd name="connsiteY2" fmla="*/ 3945327 h 4168731"/>
              <a:gd name="connsiteX3" fmla="*/ 4165051 w 4381094"/>
              <a:gd name="connsiteY3" fmla="*/ 4024399 h 4168731"/>
              <a:gd name="connsiteX4" fmla="*/ 3210382 w 4381094"/>
              <a:gd name="connsiteY4" fmla="*/ 4168731 h 4168731"/>
              <a:gd name="connsiteX5" fmla="*/ 0 w 4381094"/>
              <a:gd name="connsiteY5" fmla="*/ 958349 h 4168731"/>
              <a:gd name="connsiteX6" fmla="*/ 144333 w 4381094"/>
              <a:gd name="connsiteY6" fmla="*/ 3680 h 416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1094" h="4168731">
                <a:moveTo>
                  <a:pt x="145680" y="0"/>
                </a:moveTo>
                <a:lnTo>
                  <a:pt x="4381094" y="0"/>
                </a:lnTo>
                <a:lnTo>
                  <a:pt x="4381094" y="3945327"/>
                </a:lnTo>
                <a:lnTo>
                  <a:pt x="4165051" y="4024399"/>
                </a:lnTo>
                <a:cubicBezTo>
                  <a:pt x="3863472" y="4118200"/>
                  <a:pt x="3542828" y="4168731"/>
                  <a:pt x="3210382" y="4168731"/>
                </a:cubicBezTo>
                <a:cubicBezTo>
                  <a:pt x="1437337" y="4168731"/>
                  <a:pt x="0" y="2731394"/>
                  <a:pt x="0" y="958349"/>
                </a:cubicBezTo>
                <a:cubicBezTo>
                  <a:pt x="0" y="625903"/>
                  <a:pt x="50532" y="305259"/>
                  <a:pt x="144333" y="3680"/>
                </a:cubicBezTo>
                <a:close/>
              </a:path>
            </a:pathLst>
          </a:cu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EF8234DF-6CFB-6B99-841D-668FB9B9F2FB}"/>
              </a:ext>
            </a:extLst>
          </p:cNvPr>
          <p:cNvSpPr/>
          <p:nvPr/>
        </p:nvSpPr>
        <p:spPr>
          <a:xfrm>
            <a:off x="9020304" y="2968052"/>
            <a:ext cx="1200678" cy="1200678"/>
          </a:xfrm>
          <a:prstGeom prst="ellipse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B304F98-96BF-7E0A-72D8-968B45F5164A}"/>
              </a:ext>
            </a:extLst>
          </p:cNvPr>
          <p:cNvSpPr/>
          <p:nvPr/>
        </p:nvSpPr>
        <p:spPr>
          <a:xfrm>
            <a:off x="8754891" y="3094451"/>
            <a:ext cx="521515" cy="521515"/>
          </a:xfrm>
          <a:prstGeom prst="ellipse">
            <a:avLst/>
          </a:prstGeom>
          <a:solidFill>
            <a:srgbClr val="FE100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latin typeface="Georgia" panose="02040502050405020303" pitchFamily="18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99B2DE8-89BF-D82D-6BD7-2965B1E6DD8C}"/>
              </a:ext>
            </a:extLst>
          </p:cNvPr>
          <p:cNvGrpSpPr/>
          <p:nvPr/>
        </p:nvGrpSpPr>
        <p:grpSpPr>
          <a:xfrm>
            <a:off x="8884892" y="3222566"/>
            <a:ext cx="261513" cy="265285"/>
            <a:chOff x="7731125" y="2905125"/>
            <a:chExt cx="330200" cy="334963"/>
          </a:xfrm>
        </p:grpSpPr>
        <p:sp>
          <p:nvSpPr>
            <p:cNvPr id="12" name="Line 28">
              <a:extLst>
                <a:ext uri="{FF2B5EF4-FFF2-40B4-BE49-F238E27FC236}">
                  <a16:creationId xmlns:a16="http://schemas.microsoft.com/office/drawing/2014/main" id="{E556690E-86D7-9A4B-8BA2-2C8A936E4B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96225" y="3022600"/>
              <a:ext cx="0" cy="11430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E865CBFB-3D5A-E005-B223-D4B2DD942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5" y="2905125"/>
              <a:ext cx="330200" cy="334963"/>
            </a:xfrm>
            <a:custGeom>
              <a:avLst/>
              <a:gdLst>
                <a:gd name="T0" fmla="*/ 208 w 208"/>
                <a:gd name="T1" fmla="*/ 211 h 211"/>
                <a:gd name="T2" fmla="*/ 0 w 208"/>
                <a:gd name="T3" fmla="*/ 211 h 211"/>
                <a:gd name="T4" fmla="*/ 104 w 208"/>
                <a:gd name="T5" fmla="*/ 0 h 211"/>
                <a:gd name="T6" fmla="*/ 208 w 208"/>
                <a:gd name="T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8" h="211">
                  <a:moveTo>
                    <a:pt x="208" y="211"/>
                  </a:moveTo>
                  <a:lnTo>
                    <a:pt x="0" y="211"/>
                  </a:lnTo>
                  <a:lnTo>
                    <a:pt x="104" y="0"/>
                  </a:lnTo>
                  <a:lnTo>
                    <a:pt x="208" y="211"/>
                  </a:ln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28C01BBE-D856-B937-C791-51A765895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5" y="3178175"/>
              <a:ext cx="14288" cy="15875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0B752EF0-FC7C-7E32-1F19-FFA70647BE28}"/>
              </a:ext>
            </a:extLst>
          </p:cNvPr>
          <p:cNvSpPr/>
          <p:nvPr/>
        </p:nvSpPr>
        <p:spPr>
          <a:xfrm>
            <a:off x="819149" y="1582114"/>
            <a:ext cx="6861349" cy="163200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. Vestibulum ante ipsum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primis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faucibus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i="1" dirty="0" err="1">
                <a:latin typeface="Segoe UI" panose="020B0502040204020203" pitchFamily="34" charset="0"/>
                <a:cs typeface="Segoe UI" panose="020B0502040204020203" pitchFamily="34" charset="0"/>
              </a:rPr>
              <a:t>luctus</a:t>
            </a: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7965AF-E7F9-F468-39D5-0DD90AAFD25D}"/>
              </a:ext>
            </a:extLst>
          </p:cNvPr>
          <p:cNvSpPr/>
          <p:nvPr/>
        </p:nvSpPr>
        <p:spPr>
          <a:xfrm>
            <a:off x="819149" y="2951004"/>
            <a:ext cx="6861349" cy="38538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896E8A6F-B300-771E-A6F2-649ACB823E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7070617"/>
              </p:ext>
            </p:extLst>
          </p:nvPr>
        </p:nvGraphicFramePr>
        <p:xfrm>
          <a:off x="515938" y="4054911"/>
          <a:ext cx="7294561" cy="1735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9DA16498-034F-9310-3EE3-8AF898EC8F3E}"/>
              </a:ext>
            </a:extLst>
          </p:cNvPr>
          <p:cNvSpPr/>
          <p:nvPr/>
        </p:nvSpPr>
        <p:spPr>
          <a:xfrm>
            <a:off x="768191" y="5790076"/>
            <a:ext cx="1407709" cy="3280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ED1CB2-0D56-8545-DC26-27AA50CD2178}"/>
              </a:ext>
            </a:extLst>
          </p:cNvPr>
          <p:cNvSpPr/>
          <p:nvPr/>
        </p:nvSpPr>
        <p:spPr>
          <a:xfrm>
            <a:off x="2661129" y="5790076"/>
            <a:ext cx="1407709" cy="3280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C9875B2-EEA0-AEC7-A790-A254D51F0F97}"/>
              </a:ext>
            </a:extLst>
          </p:cNvPr>
          <p:cNvSpPr/>
          <p:nvPr/>
        </p:nvSpPr>
        <p:spPr>
          <a:xfrm>
            <a:off x="4380527" y="5790076"/>
            <a:ext cx="1407709" cy="3280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5AC525-5FA1-2DB2-4792-EE95FEACEE26}"/>
              </a:ext>
            </a:extLst>
          </p:cNvPr>
          <p:cNvSpPr/>
          <p:nvPr/>
        </p:nvSpPr>
        <p:spPr>
          <a:xfrm>
            <a:off x="6096000" y="5790076"/>
            <a:ext cx="1407709" cy="3280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 algn="ctr"/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08E57BF-F777-598F-E08B-DAA5918ECDDF}"/>
              </a:ext>
            </a:extLst>
          </p:cNvPr>
          <p:cNvGrpSpPr/>
          <p:nvPr/>
        </p:nvGrpSpPr>
        <p:grpSpPr>
          <a:xfrm>
            <a:off x="9368916" y="3224417"/>
            <a:ext cx="503454" cy="687948"/>
            <a:chOff x="4516438" y="2890838"/>
            <a:chExt cx="255588" cy="349250"/>
          </a:xfrm>
        </p:grpSpPr>
        <p:sp>
          <p:nvSpPr>
            <p:cNvPr id="30" name="Freeform 83">
              <a:extLst>
                <a:ext uri="{FF2B5EF4-FFF2-40B4-BE49-F238E27FC236}">
                  <a16:creationId xmlns:a16="http://schemas.microsoft.com/office/drawing/2014/main" id="{389311D7-369A-090D-1C0D-4905CA3F9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438" y="2890838"/>
              <a:ext cx="255588" cy="349250"/>
            </a:xfrm>
            <a:custGeom>
              <a:avLst/>
              <a:gdLst>
                <a:gd name="T0" fmla="*/ 161 w 161"/>
                <a:gd name="T1" fmla="*/ 220 h 220"/>
                <a:gd name="T2" fmla="*/ 0 w 161"/>
                <a:gd name="T3" fmla="*/ 220 h 220"/>
                <a:gd name="T4" fmla="*/ 0 w 161"/>
                <a:gd name="T5" fmla="*/ 0 h 220"/>
                <a:gd name="T6" fmla="*/ 104 w 161"/>
                <a:gd name="T7" fmla="*/ 0 h 220"/>
                <a:gd name="T8" fmla="*/ 161 w 161"/>
                <a:gd name="T9" fmla="*/ 57 h 220"/>
                <a:gd name="T10" fmla="*/ 161 w 161"/>
                <a:gd name="T11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20">
                  <a:moveTo>
                    <a:pt x="161" y="220"/>
                  </a:moveTo>
                  <a:lnTo>
                    <a:pt x="0" y="220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220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4">
              <a:extLst>
                <a:ext uri="{FF2B5EF4-FFF2-40B4-BE49-F238E27FC236}">
                  <a16:creationId xmlns:a16="http://schemas.microsoft.com/office/drawing/2014/main" id="{955DB71D-3D6E-710A-E886-A169597A1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538" y="2890838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85">
              <a:extLst>
                <a:ext uri="{FF2B5EF4-FFF2-40B4-BE49-F238E27FC236}">
                  <a16:creationId xmlns:a16="http://schemas.microsoft.com/office/drawing/2014/main" id="{8451AE61-BDD4-A91F-922A-9B1FA62E0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8825" y="2997200"/>
              <a:ext cx="746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86">
              <a:extLst>
                <a:ext uri="{FF2B5EF4-FFF2-40B4-BE49-F238E27FC236}">
                  <a16:creationId xmlns:a16="http://schemas.microsoft.com/office/drawing/2014/main" id="{3A86B6A9-7E1A-3243-F61F-C6E54C2954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8825" y="3041650"/>
              <a:ext cx="13493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87">
              <a:extLst>
                <a:ext uri="{FF2B5EF4-FFF2-40B4-BE49-F238E27FC236}">
                  <a16:creationId xmlns:a16="http://schemas.microsoft.com/office/drawing/2014/main" id="{EE929F15-AD7E-D7EC-F1A5-0A44B96602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8825" y="3087688"/>
              <a:ext cx="3016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88">
              <a:extLst>
                <a:ext uri="{FF2B5EF4-FFF2-40B4-BE49-F238E27FC236}">
                  <a16:creationId xmlns:a16="http://schemas.microsoft.com/office/drawing/2014/main" id="{EB4C84E0-A1DC-BBDD-2017-95815DF6C9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8825" y="3133725"/>
              <a:ext cx="3016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89">
              <a:extLst>
                <a:ext uri="{FF2B5EF4-FFF2-40B4-BE49-F238E27FC236}">
                  <a16:creationId xmlns:a16="http://schemas.microsoft.com/office/drawing/2014/main" id="{60AFAEB7-3801-6C9D-E5E7-514C86077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8825" y="3178175"/>
              <a:ext cx="3016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4CDA820-5AF6-07FC-B190-E5598B82C0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7088" y="3087688"/>
              <a:ext cx="90488" cy="904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91">
              <a:extLst>
                <a:ext uri="{FF2B5EF4-FFF2-40B4-BE49-F238E27FC236}">
                  <a16:creationId xmlns:a16="http://schemas.microsoft.com/office/drawing/2014/main" id="{029542B8-9853-9D84-7548-D645FB93E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200" y="3087688"/>
              <a:ext cx="33338" cy="76200"/>
            </a:xfrm>
            <a:custGeom>
              <a:avLst/>
              <a:gdLst>
                <a:gd name="T0" fmla="*/ 21 w 21"/>
                <a:gd name="T1" fmla="*/ 0 h 48"/>
                <a:gd name="T2" fmla="*/ 21 w 21"/>
                <a:gd name="T3" fmla="*/ 29 h 48"/>
                <a:gd name="T4" fmla="*/ 0 w 21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48">
                  <a:moveTo>
                    <a:pt x="21" y="0"/>
                  </a:moveTo>
                  <a:lnTo>
                    <a:pt x="21" y="29"/>
                  </a:lnTo>
                  <a:lnTo>
                    <a:pt x="0" y="48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4D0694B-B9C3-1C56-C885-B07BD6F067AD}"/>
              </a:ext>
            </a:extLst>
          </p:cNvPr>
          <p:cNvSpPr/>
          <p:nvPr/>
        </p:nvSpPr>
        <p:spPr>
          <a:xfrm>
            <a:off x="8062752" y="4425096"/>
            <a:ext cx="3613311" cy="173516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rutrum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bendum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risu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interdum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magna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ondimentum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odio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B976323-72A2-1354-7315-FF71F2DF9854}"/>
              </a:ext>
            </a:extLst>
          </p:cNvPr>
          <p:cNvSpPr/>
          <p:nvPr/>
        </p:nvSpPr>
        <p:spPr>
          <a:xfrm>
            <a:off x="962715" y="3494485"/>
            <a:ext cx="6396028" cy="527792"/>
          </a:xfrm>
          <a:prstGeom prst="rect">
            <a:avLst/>
          </a:prstGeom>
          <a:solidFill>
            <a:srgbClr val="36638D"/>
          </a:solidFill>
        </p:spPr>
        <p:txBody>
          <a:bodyPr wrap="square" lIns="0" tIns="0" rIns="0" bIns="0" anchor="ctr" anchorCtr="0">
            <a:noAutofit/>
          </a:bodyPr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F92940-6A51-6E73-ADA1-97CCC35EC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7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4CAE3F-3E44-9AE4-F0F9-0C468997C9C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955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01E533-0ED2-99C5-D3EA-F5E347A571DB}"/>
              </a:ext>
            </a:extLst>
          </p:cNvPr>
          <p:cNvSpPr/>
          <p:nvPr/>
        </p:nvSpPr>
        <p:spPr>
          <a:xfrm>
            <a:off x="0" y="2663008"/>
            <a:ext cx="12192000" cy="4194992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13" name="Picture 112" descr="A picture containing car, transport&#10;&#10;Description automatically generated">
            <a:extLst>
              <a:ext uri="{FF2B5EF4-FFF2-40B4-BE49-F238E27FC236}">
                <a16:creationId xmlns:a16="http://schemas.microsoft.com/office/drawing/2014/main" id="{56C11F7A-4313-9EDD-9EDC-9C88C5B93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3698394" y="869407"/>
            <a:ext cx="9152490" cy="6863804"/>
          </a:xfrm>
          <a:custGeom>
            <a:avLst/>
            <a:gdLst>
              <a:gd name="connsiteX0" fmla="*/ 3698394 w 9152490"/>
              <a:gd name="connsiteY0" fmla="*/ 0 h 6863804"/>
              <a:gd name="connsiteX1" fmla="*/ 9152490 w 9152490"/>
              <a:gd name="connsiteY1" fmla="*/ 0 h 6863804"/>
              <a:gd name="connsiteX2" fmla="*/ 9152490 w 9152490"/>
              <a:gd name="connsiteY2" fmla="*/ 6863804 h 6863804"/>
              <a:gd name="connsiteX3" fmla="*/ 0 w 9152490"/>
              <a:gd name="connsiteY3" fmla="*/ 6863804 h 6863804"/>
              <a:gd name="connsiteX4" fmla="*/ 0 w 9152490"/>
              <a:gd name="connsiteY4" fmla="*/ 6693987 h 6863804"/>
              <a:gd name="connsiteX5" fmla="*/ 3698394 w 9152490"/>
              <a:gd name="connsiteY5" fmla="*/ 6693987 h 686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2490" h="6863804">
                <a:moveTo>
                  <a:pt x="3698394" y="0"/>
                </a:moveTo>
                <a:lnTo>
                  <a:pt x="9152490" y="0"/>
                </a:lnTo>
                <a:lnTo>
                  <a:pt x="9152490" y="6863804"/>
                </a:lnTo>
                <a:lnTo>
                  <a:pt x="0" y="6863804"/>
                </a:lnTo>
                <a:lnTo>
                  <a:pt x="0" y="6693987"/>
                </a:lnTo>
                <a:lnTo>
                  <a:pt x="3698394" y="6693987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A67224-1805-3E37-71FF-80349B64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Choose Our Car Insurance Services?</a:t>
            </a:r>
            <a:endParaRPr lang="en-ID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4023F6-5776-4EA7-4B16-C9DDCD883FB6}"/>
              </a:ext>
            </a:extLst>
          </p:cNvPr>
          <p:cNvSpPr/>
          <p:nvPr/>
        </p:nvSpPr>
        <p:spPr>
          <a:xfrm>
            <a:off x="4673479" y="1554480"/>
            <a:ext cx="7518521" cy="4571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F11939-0293-BCB9-9AC7-FC25EF550DB8}"/>
              </a:ext>
            </a:extLst>
          </p:cNvPr>
          <p:cNvSpPr/>
          <p:nvPr/>
        </p:nvSpPr>
        <p:spPr>
          <a:xfrm>
            <a:off x="4297318" y="1722264"/>
            <a:ext cx="772960" cy="772960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9D5B32-5380-52A6-D53B-1542C8E98770}"/>
              </a:ext>
            </a:extLst>
          </p:cNvPr>
          <p:cNvSpPr/>
          <p:nvPr/>
        </p:nvSpPr>
        <p:spPr>
          <a:xfrm>
            <a:off x="4297318" y="2830792"/>
            <a:ext cx="772960" cy="772960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EC8835C-7F6C-AB01-5D5B-EFA2AF077B23}"/>
              </a:ext>
            </a:extLst>
          </p:cNvPr>
          <p:cNvSpPr/>
          <p:nvPr/>
        </p:nvSpPr>
        <p:spPr>
          <a:xfrm>
            <a:off x="4297318" y="3939320"/>
            <a:ext cx="772960" cy="772960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C3BAE3C-B0D2-D30C-0AF5-CD2E771B8256}"/>
              </a:ext>
            </a:extLst>
          </p:cNvPr>
          <p:cNvSpPr/>
          <p:nvPr/>
        </p:nvSpPr>
        <p:spPr>
          <a:xfrm>
            <a:off x="4297318" y="5047848"/>
            <a:ext cx="772960" cy="772960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FC3F5F-0083-7C34-2E00-234460F4DF2E}"/>
              </a:ext>
            </a:extLst>
          </p:cNvPr>
          <p:cNvGrpSpPr/>
          <p:nvPr/>
        </p:nvGrpSpPr>
        <p:grpSpPr>
          <a:xfrm>
            <a:off x="5413895" y="2663008"/>
            <a:ext cx="6003042" cy="2217056"/>
            <a:chOff x="5904411" y="2663008"/>
            <a:chExt cx="5512526" cy="2217056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A4D1AFB-5A04-A3F3-6189-E13E94973321}"/>
                </a:ext>
              </a:extLst>
            </p:cNvPr>
            <p:cNvCxnSpPr>
              <a:cxnSpLocks/>
            </p:cNvCxnSpPr>
            <p:nvPr/>
          </p:nvCxnSpPr>
          <p:spPr>
            <a:xfrm>
              <a:off x="5904411" y="2663008"/>
              <a:ext cx="551252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1639BA3-46AB-6F6E-DC89-6CC63812296C}"/>
                </a:ext>
              </a:extLst>
            </p:cNvPr>
            <p:cNvCxnSpPr>
              <a:cxnSpLocks/>
            </p:cNvCxnSpPr>
            <p:nvPr/>
          </p:nvCxnSpPr>
          <p:spPr>
            <a:xfrm>
              <a:off x="5904411" y="3771536"/>
              <a:ext cx="551252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0E63A3D0-91C6-12EB-CEFD-F9D079DB8EAB}"/>
                </a:ext>
              </a:extLst>
            </p:cNvPr>
            <p:cNvCxnSpPr>
              <a:cxnSpLocks/>
            </p:cNvCxnSpPr>
            <p:nvPr/>
          </p:nvCxnSpPr>
          <p:spPr>
            <a:xfrm>
              <a:off x="5904411" y="4880064"/>
              <a:ext cx="5512526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305B424-FA26-C2A6-B2AF-B277CC9FED7B}"/>
              </a:ext>
            </a:extLst>
          </p:cNvPr>
          <p:cNvGrpSpPr/>
          <p:nvPr/>
        </p:nvGrpSpPr>
        <p:grpSpPr>
          <a:xfrm>
            <a:off x="5413895" y="1657697"/>
            <a:ext cx="6262167" cy="849842"/>
            <a:chOff x="5904411" y="1594484"/>
            <a:chExt cx="5512526" cy="849842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0AB7F19-9F1C-994C-A86B-29CEF15797AB}"/>
                </a:ext>
              </a:extLst>
            </p:cNvPr>
            <p:cNvSpPr/>
            <p:nvPr/>
          </p:nvSpPr>
          <p:spPr>
            <a:xfrm>
              <a:off x="5904411" y="1594484"/>
              <a:ext cx="3886619" cy="44257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88EAF74-5E95-67FE-F98D-67F4999BE8F6}"/>
                </a:ext>
              </a:extLst>
            </p:cNvPr>
            <p:cNvSpPr/>
            <p:nvPr/>
          </p:nvSpPr>
          <p:spPr>
            <a:xfrm>
              <a:off x="5904412" y="1916534"/>
              <a:ext cx="5512525" cy="52779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3988F58-2E2E-BAEF-411D-D7C93B5F602B}"/>
              </a:ext>
            </a:extLst>
          </p:cNvPr>
          <p:cNvGrpSpPr/>
          <p:nvPr/>
        </p:nvGrpSpPr>
        <p:grpSpPr>
          <a:xfrm>
            <a:off x="5413895" y="2766225"/>
            <a:ext cx="6262167" cy="849842"/>
            <a:chOff x="5904411" y="1594484"/>
            <a:chExt cx="5512526" cy="849842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B690C75-E9CC-584B-D40B-5370858F8917}"/>
                </a:ext>
              </a:extLst>
            </p:cNvPr>
            <p:cNvSpPr/>
            <p:nvPr/>
          </p:nvSpPr>
          <p:spPr>
            <a:xfrm>
              <a:off x="5904411" y="1594484"/>
              <a:ext cx="3886619" cy="44257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1374330-B608-B8FA-94F2-ABAB1489FD9A}"/>
                </a:ext>
              </a:extLst>
            </p:cNvPr>
            <p:cNvSpPr/>
            <p:nvPr/>
          </p:nvSpPr>
          <p:spPr>
            <a:xfrm>
              <a:off x="5904412" y="1916534"/>
              <a:ext cx="5512525" cy="52779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0E2EA00-434B-5E7D-54B8-5229C765DA41}"/>
              </a:ext>
            </a:extLst>
          </p:cNvPr>
          <p:cNvGrpSpPr/>
          <p:nvPr/>
        </p:nvGrpSpPr>
        <p:grpSpPr>
          <a:xfrm>
            <a:off x="5413895" y="3874753"/>
            <a:ext cx="6262167" cy="849842"/>
            <a:chOff x="5904411" y="1594484"/>
            <a:chExt cx="5512526" cy="849842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513348D-521D-DB5A-9610-ACE2D8DE6875}"/>
                </a:ext>
              </a:extLst>
            </p:cNvPr>
            <p:cNvSpPr/>
            <p:nvPr/>
          </p:nvSpPr>
          <p:spPr>
            <a:xfrm>
              <a:off x="5904411" y="1594484"/>
              <a:ext cx="3886619" cy="44257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6E13061-2D48-BDEB-2350-798F15D7C95B}"/>
                </a:ext>
              </a:extLst>
            </p:cNvPr>
            <p:cNvSpPr/>
            <p:nvPr/>
          </p:nvSpPr>
          <p:spPr>
            <a:xfrm>
              <a:off x="5904412" y="1916534"/>
              <a:ext cx="5512525" cy="52779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CE5C35B-F7AB-3B77-BAA1-141999338565}"/>
              </a:ext>
            </a:extLst>
          </p:cNvPr>
          <p:cNvGrpSpPr/>
          <p:nvPr/>
        </p:nvGrpSpPr>
        <p:grpSpPr>
          <a:xfrm>
            <a:off x="5413895" y="4983281"/>
            <a:ext cx="6262167" cy="849842"/>
            <a:chOff x="5904411" y="1594484"/>
            <a:chExt cx="5512526" cy="849842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AE45BAF-4050-54AA-791E-2C69C02B4FDE}"/>
                </a:ext>
              </a:extLst>
            </p:cNvPr>
            <p:cNvSpPr/>
            <p:nvPr/>
          </p:nvSpPr>
          <p:spPr>
            <a:xfrm>
              <a:off x="5904411" y="1594484"/>
              <a:ext cx="3886619" cy="44257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6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A8FEBB9-8E03-4761-EAEA-343603EAD01D}"/>
                </a:ext>
              </a:extLst>
            </p:cNvPr>
            <p:cNvSpPr/>
            <p:nvPr/>
          </p:nvSpPr>
          <p:spPr>
            <a:xfrm>
              <a:off x="5904412" y="1916534"/>
              <a:ext cx="5512525" cy="52779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/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. Ut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aliqua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isus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id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rutr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bibendum</a:t>
              </a:r>
              <a:r>
                <a:rPr lang="en-US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41A0A61-D2BA-F4D8-8ED8-144C654DCDA2}"/>
              </a:ext>
            </a:extLst>
          </p:cNvPr>
          <p:cNvGrpSpPr/>
          <p:nvPr/>
        </p:nvGrpSpPr>
        <p:grpSpPr>
          <a:xfrm>
            <a:off x="4511554" y="1936500"/>
            <a:ext cx="344488" cy="344488"/>
            <a:chOff x="6297613" y="5080001"/>
            <a:chExt cx="344488" cy="344488"/>
          </a:xfrm>
        </p:grpSpPr>
        <p:sp>
          <p:nvSpPr>
            <p:cNvPr id="60" name="Oval 34">
              <a:extLst>
                <a:ext uri="{FF2B5EF4-FFF2-40B4-BE49-F238E27FC236}">
                  <a16:creationId xmlns:a16="http://schemas.microsoft.com/office/drawing/2014/main" id="{12642C8A-6D25-4C26-96D6-BC27A0F7C6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613" y="5080001"/>
              <a:ext cx="344488" cy="344488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Oval 35">
              <a:extLst>
                <a:ext uri="{FF2B5EF4-FFF2-40B4-BE49-F238E27FC236}">
                  <a16:creationId xmlns:a16="http://schemas.microsoft.com/office/drawing/2014/main" id="{35B4B32A-EF6B-2182-6A7B-13AA9E4AF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6838" y="5229226"/>
              <a:ext cx="46038" cy="46038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36">
              <a:extLst>
                <a:ext uri="{FF2B5EF4-FFF2-40B4-BE49-F238E27FC236}">
                  <a16:creationId xmlns:a16="http://schemas.microsoft.com/office/drawing/2014/main" id="{CDDD1A79-9241-3819-5479-E67A598618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84938" y="5162551"/>
              <a:ext cx="74613" cy="7461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37">
              <a:extLst>
                <a:ext uri="{FF2B5EF4-FFF2-40B4-BE49-F238E27FC236}">
                  <a16:creationId xmlns:a16="http://schemas.microsoft.com/office/drawing/2014/main" id="{72275F02-7D90-A1AD-45C3-45F6E10685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26188" y="5256213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38">
              <a:extLst>
                <a:ext uri="{FF2B5EF4-FFF2-40B4-BE49-F238E27FC236}">
                  <a16:creationId xmlns:a16="http://schemas.microsoft.com/office/drawing/2014/main" id="{86A8D718-A8E0-9D1E-8999-5B633CB79AA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38888" y="5294313"/>
              <a:ext cx="25400" cy="142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Line 39">
              <a:extLst>
                <a:ext uri="{FF2B5EF4-FFF2-40B4-BE49-F238E27FC236}">
                  <a16:creationId xmlns:a16="http://schemas.microsoft.com/office/drawing/2014/main" id="{5EA7D33C-B930-2AA6-AE40-87046A8EA5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575426" y="5294313"/>
              <a:ext cx="25400" cy="142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40">
              <a:extLst>
                <a:ext uri="{FF2B5EF4-FFF2-40B4-BE49-F238E27FC236}">
                  <a16:creationId xmlns:a16="http://schemas.microsoft.com/office/drawing/2014/main" id="{0D54C0EF-B0FE-57D9-7043-C23630F901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81776" y="5253038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41">
              <a:extLst>
                <a:ext uri="{FF2B5EF4-FFF2-40B4-BE49-F238E27FC236}">
                  <a16:creationId xmlns:a16="http://schemas.microsoft.com/office/drawing/2014/main" id="{26EF226B-DB96-CB20-534F-7252AEA578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75426" y="5195888"/>
              <a:ext cx="25400" cy="1587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Line 42">
              <a:extLst>
                <a:ext uri="{FF2B5EF4-FFF2-40B4-BE49-F238E27FC236}">
                  <a16:creationId xmlns:a16="http://schemas.microsoft.com/office/drawing/2014/main" id="{73A8F789-A47A-CE2C-0C09-B8E0F7DF42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10338" y="5121276"/>
              <a:ext cx="15875" cy="254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Line 43">
              <a:extLst>
                <a:ext uri="{FF2B5EF4-FFF2-40B4-BE49-F238E27FC236}">
                  <a16:creationId xmlns:a16="http://schemas.microsoft.com/office/drawing/2014/main" id="{43F5D3F5-7C4F-91B8-B7B0-0D606F14D7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9063" y="5113338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Line 44">
              <a:extLst>
                <a:ext uri="{FF2B5EF4-FFF2-40B4-BE49-F238E27FC236}">
                  <a16:creationId xmlns:a16="http://schemas.microsoft.com/office/drawing/2014/main" id="{38FAE96F-4BB5-FED9-678A-CE88D8395B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13501" y="5121276"/>
              <a:ext cx="14288" cy="254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Line 45">
              <a:extLst>
                <a:ext uri="{FF2B5EF4-FFF2-40B4-BE49-F238E27FC236}">
                  <a16:creationId xmlns:a16="http://schemas.microsoft.com/office/drawing/2014/main" id="{D0B1C326-3F26-6A37-01B2-29BB46F7C2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67463" y="5151438"/>
              <a:ext cx="23813" cy="2222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Line 46">
              <a:extLst>
                <a:ext uri="{FF2B5EF4-FFF2-40B4-BE49-F238E27FC236}">
                  <a16:creationId xmlns:a16="http://schemas.microsoft.com/office/drawing/2014/main" id="{B62DE470-1176-34BC-FE7D-6EEE9F358E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38888" y="5195888"/>
              <a:ext cx="25400" cy="15875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Rectangle 47">
              <a:extLst>
                <a:ext uri="{FF2B5EF4-FFF2-40B4-BE49-F238E27FC236}">
                  <a16:creationId xmlns:a16="http://schemas.microsoft.com/office/drawing/2014/main" id="{4C9321AA-B227-CFCA-907B-9C5483863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2388" y="5319713"/>
              <a:ext cx="134938" cy="46038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5DD2625-0522-9A15-5F06-C779AE6B7161}"/>
              </a:ext>
            </a:extLst>
          </p:cNvPr>
          <p:cNvGrpSpPr/>
          <p:nvPr/>
        </p:nvGrpSpPr>
        <p:grpSpPr>
          <a:xfrm>
            <a:off x="4510761" y="5276372"/>
            <a:ext cx="346075" cy="315913"/>
            <a:chOff x="8763605" y="3057526"/>
            <a:chExt cx="346075" cy="315913"/>
          </a:xfrm>
        </p:grpSpPr>
        <p:sp>
          <p:nvSpPr>
            <p:cNvPr id="75" name="Rectangle 5">
              <a:extLst>
                <a:ext uri="{FF2B5EF4-FFF2-40B4-BE49-F238E27FC236}">
                  <a16:creationId xmlns:a16="http://schemas.microsoft.com/office/drawing/2014/main" id="{F0B0E754-0EA4-4E9C-CCBE-72E83308E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605" y="3057526"/>
              <a:ext cx="195263" cy="315913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Rectangle 6">
              <a:extLst>
                <a:ext uri="{FF2B5EF4-FFF2-40B4-BE49-F238E27FC236}">
                  <a16:creationId xmlns:a16="http://schemas.microsoft.com/office/drawing/2014/main" id="{AC468384-C0BF-F810-F846-1C0ECF5631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4255" y="3238501"/>
              <a:ext cx="30163" cy="6032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DFD62EAE-5DD3-B956-39AC-C7A0DC433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5230" y="3252788"/>
              <a:ext cx="28575" cy="46038"/>
            </a:xfrm>
            <a:custGeom>
              <a:avLst/>
              <a:gdLst>
                <a:gd name="T0" fmla="*/ 18 w 18"/>
                <a:gd name="T1" fmla="*/ 19 h 29"/>
                <a:gd name="T2" fmla="*/ 0 w 18"/>
                <a:gd name="T3" fmla="*/ 29 h 29"/>
                <a:gd name="T4" fmla="*/ 0 w 18"/>
                <a:gd name="T5" fmla="*/ 0 h 29"/>
                <a:gd name="T6" fmla="*/ 18 w 18"/>
                <a:gd name="T7" fmla="*/ 0 h 29"/>
                <a:gd name="T8" fmla="*/ 18 w 18"/>
                <a:gd name="T9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9">
                  <a:moveTo>
                    <a:pt x="18" y="1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9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1D82BCE7-F634-7D40-7E57-346C836BE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5230" y="3178176"/>
              <a:ext cx="44450" cy="74613"/>
            </a:xfrm>
            <a:custGeom>
              <a:avLst/>
              <a:gdLst>
                <a:gd name="T0" fmla="*/ 0 w 12"/>
                <a:gd name="T1" fmla="*/ 20 h 20"/>
                <a:gd name="T2" fmla="*/ 0 w 12"/>
                <a:gd name="T3" fmla="*/ 14 h 20"/>
                <a:gd name="T4" fmla="*/ 12 w 12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0" y="2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12" y="0"/>
                    <a:pt x="12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B1791904-823F-4A30-F941-615E9D5A6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867" y="3117851"/>
              <a:ext cx="106363" cy="255588"/>
            </a:xfrm>
            <a:custGeom>
              <a:avLst/>
              <a:gdLst>
                <a:gd name="T0" fmla="*/ 28 w 28"/>
                <a:gd name="T1" fmla="*/ 48 h 68"/>
                <a:gd name="T2" fmla="*/ 28 w 28"/>
                <a:gd name="T3" fmla="*/ 60 h 68"/>
                <a:gd name="T4" fmla="*/ 20 w 28"/>
                <a:gd name="T5" fmla="*/ 68 h 68"/>
                <a:gd name="T6" fmla="*/ 12 w 28"/>
                <a:gd name="T7" fmla="*/ 60 h 68"/>
                <a:gd name="T8" fmla="*/ 12 w 28"/>
                <a:gd name="T9" fmla="*/ 6 h 68"/>
                <a:gd name="T10" fmla="*/ 6 w 28"/>
                <a:gd name="T11" fmla="*/ 0 h 68"/>
                <a:gd name="T12" fmla="*/ 0 w 28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8">
                  <a:moveTo>
                    <a:pt x="28" y="48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4"/>
                    <a:pt x="24" y="68"/>
                    <a:pt x="20" y="68"/>
                  </a:cubicBezTo>
                  <a:cubicBezTo>
                    <a:pt x="16" y="68"/>
                    <a:pt x="12" y="64"/>
                    <a:pt x="12" y="6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Line 10">
              <a:extLst>
                <a:ext uri="{FF2B5EF4-FFF2-40B4-BE49-F238E27FC236}">
                  <a16:creationId xmlns:a16="http://schemas.microsoft.com/office/drawing/2014/main" id="{1DBD68F6-1DC6-ADAC-EDC0-7EE4CB5D91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63605" y="3178176"/>
              <a:ext cx="1952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Rectangle 11">
              <a:extLst>
                <a:ext uri="{FF2B5EF4-FFF2-40B4-BE49-F238E27FC236}">
                  <a16:creationId xmlns:a16="http://schemas.microsoft.com/office/drawing/2014/main" id="{CB91C2CB-663F-F66C-11F0-3D05048EC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3767" y="3087688"/>
              <a:ext cx="134938" cy="6032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Line 12">
              <a:extLst>
                <a:ext uri="{FF2B5EF4-FFF2-40B4-BE49-F238E27FC236}">
                  <a16:creationId xmlns:a16="http://schemas.microsoft.com/office/drawing/2014/main" id="{5A41A275-ED76-CCAE-2055-372F36D148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84255" y="3327401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4046C4C-FCC4-E838-AFD3-FD914936ED76}"/>
              </a:ext>
            </a:extLst>
          </p:cNvPr>
          <p:cNvGrpSpPr/>
          <p:nvPr/>
        </p:nvGrpSpPr>
        <p:grpSpPr>
          <a:xfrm>
            <a:off x="4511555" y="3044235"/>
            <a:ext cx="344487" cy="346075"/>
            <a:chOff x="10876565" y="838073"/>
            <a:chExt cx="344487" cy="346075"/>
          </a:xfrm>
        </p:grpSpPr>
        <p:sp>
          <p:nvSpPr>
            <p:cNvPr id="84" name="Rectangle 434">
              <a:extLst>
                <a:ext uri="{FF2B5EF4-FFF2-40B4-BE49-F238E27FC236}">
                  <a16:creationId xmlns:a16="http://schemas.microsoft.com/office/drawing/2014/main" id="{B959D71B-2ED4-9CB4-C505-94BC486B37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65" y="974598"/>
              <a:ext cx="30163" cy="285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Rectangle 435">
              <a:extLst>
                <a:ext uri="{FF2B5EF4-FFF2-40B4-BE49-F238E27FC236}">
                  <a16:creationId xmlns:a16="http://schemas.microsoft.com/office/drawing/2014/main" id="{3B02C8D2-8F14-09CC-CFF5-937D855012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01990" y="974598"/>
              <a:ext cx="30163" cy="285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36">
              <a:extLst>
                <a:ext uri="{FF2B5EF4-FFF2-40B4-BE49-F238E27FC236}">
                  <a16:creationId xmlns:a16="http://schemas.microsoft.com/office/drawing/2014/main" id="{59D986DC-7FE4-6284-91CF-AC59BCD16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1177" y="898398"/>
              <a:ext cx="195263" cy="76200"/>
            </a:xfrm>
            <a:custGeom>
              <a:avLst/>
              <a:gdLst>
                <a:gd name="T0" fmla="*/ 123 w 123"/>
                <a:gd name="T1" fmla="*/ 48 h 48"/>
                <a:gd name="T2" fmla="*/ 123 w 123"/>
                <a:gd name="T3" fmla="*/ 19 h 48"/>
                <a:gd name="T4" fmla="*/ 104 w 123"/>
                <a:gd name="T5" fmla="*/ 0 h 48"/>
                <a:gd name="T6" fmla="*/ 19 w 123"/>
                <a:gd name="T7" fmla="*/ 0 h 48"/>
                <a:gd name="T8" fmla="*/ 0 w 123"/>
                <a:gd name="T9" fmla="*/ 19 h 48"/>
                <a:gd name="T10" fmla="*/ 0 w 123"/>
                <a:gd name="T11" fmla="*/ 48 h 48"/>
                <a:gd name="T12" fmla="*/ 123 w 12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48">
                  <a:moveTo>
                    <a:pt x="123" y="48"/>
                  </a:moveTo>
                  <a:lnTo>
                    <a:pt x="123" y="19"/>
                  </a:lnTo>
                  <a:lnTo>
                    <a:pt x="104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48"/>
                  </a:lnTo>
                  <a:lnTo>
                    <a:pt x="123" y="48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437">
              <a:extLst>
                <a:ext uri="{FF2B5EF4-FFF2-40B4-BE49-F238E27FC236}">
                  <a16:creationId xmlns:a16="http://schemas.microsoft.com/office/drawing/2014/main" id="{9C709AE5-7E81-D64F-4812-3C30441F8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340" y="838073"/>
              <a:ext cx="134938" cy="60325"/>
            </a:xfrm>
            <a:custGeom>
              <a:avLst/>
              <a:gdLst>
                <a:gd name="T0" fmla="*/ 76 w 85"/>
                <a:gd name="T1" fmla="*/ 0 h 38"/>
                <a:gd name="T2" fmla="*/ 9 w 85"/>
                <a:gd name="T3" fmla="*/ 0 h 38"/>
                <a:gd name="T4" fmla="*/ 0 w 85"/>
                <a:gd name="T5" fmla="*/ 38 h 38"/>
                <a:gd name="T6" fmla="*/ 85 w 85"/>
                <a:gd name="T7" fmla="*/ 38 h 38"/>
                <a:gd name="T8" fmla="*/ 76 w 85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8">
                  <a:moveTo>
                    <a:pt x="76" y="0"/>
                  </a:moveTo>
                  <a:lnTo>
                    <a:pt x="9" y="0"/>
                  </a:lnTo>
                  <a:lnTo>
                    <a:pt x="0" y="38"/>
                  </a:lnTo>
                  <a:lnTo>
                    <a:pt x="85" y="38"/>
                  </a:lnTo>
                  <a:lnTo>
                    <a:pt x="76" y="0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Line 438">
              <a:extLst>
                <a:ext uri="{FF2B5EF4-FFF2-40B4-BE49-F238E27FC236}">
                  <a16:creationId xmlns:a16="http://schemas.microsoft.com/office/drawing/2014/main" id="{5FA98389-0FFF-B291-A141-07D14A042A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51177" y="944436"/>
              <a:ext cx="3810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Line 439">
              <a:extLst>
                <a:ext uri="{FF2B5EF4-FFF2-40B4-BE49-F238E27FC236}">
                  <a16:creationId xmlns:a16="http://schemas.microsoft.com/office/drawing/2014/main" id="{0835918E-30C1-6878-3A6F-C2BF7C18C6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108340" y="944436"/>
              <a:ext cx="3810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Line 440">
              <a:extLst>
                <a:ext uri="{FF2B5EF4-FFF2-40B4-BE49-F238E27FC236}">
                  <a16:creationId xmlns:a16="http://schemas.microsoft.com/office/drawing/2014/main" id="{7CD86F9D-16EE-AEC6-0D6D-CA8A2EE75C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76565" y="118414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Rectangle 441">
              <a:extLst>
                <a:ext uri="{FF2B5EF4-FFF2-40B4-BE49-F238E27FC236}">
                  <a16:creationId xmlns:a16="http://schemas.microsoft.com/office/drawing/2014/main" id="{78C85C88-F1CD-678F-90E3-07A66CD00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0852" y="914273"/>
              <a:ext cx="30163" cy="2698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Line 442">
              <a:extLst>
                <a:ext uri="{FF2B5EF4-FFF2-40B4-BE49-F238E27FC236}">
                  <a16:creationId xmlns:a16="http://schemas.microsoft.com/office/drawing/2014/main" id="{F1B00648-8FB7-343C-9259-55638C91B4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160727" y="1184148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43">
              <a:extLst>
                <a:ext uri="{FF2B5EF4-FFF2-40B4-BE49-F238E27FC236}">
                  <a16:creationId xmlns:a16="http://schemas.microsoft.com/office/drawing/2014/main" id="{02079DDB-D241-B755-853D-197C92005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76602" y="914273"/>
              <a:ext cx="30163" cy="269875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444">
              <a:extLst>
                <a:ext uri="{FF2B5EF4-FFF2-40B4-BE49-F238E27FC236}">
                  <a16:creationId xmlns:a16="http://schemas.microsoft.com/office/drawing/2014/main" id="{1F0E2545-8ADD-A787-7560-0C6249F1D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21015" y="1003173"/>
              <a:ext cx="255588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Oval 445">
              <a:extLst>
                <a:ext uri="{FF2B5EF4-FFF2-40B4-BE49-F238E27FC236}">
                  <a16:creationId xmlns:a16="http://schemas.microsoft.com/office/drawing/2014/main" id="{384A9FFF-6594-B5A5-4B18-1104EFF63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25790" y="1079373"/>
              <a:ext cx="46038" cy="44450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446">
              <a:extLst>
                <a:ext uri="{FF2B5EF4-FFF2-40B4-BE49-F238E27FC236}">
                  <a16:creationId xmlns:a16="http://schemas.microsoft.com/office/drawing/2014/main" id="{BF4E4A9B-1968-2160-ADE2-9DA6D5E51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340" y="1033336"/>
              <a:ext cx="131763" cy="136525"/>
            </a:xfrm>
            <a:custGeom>
              <a:avLst/>
              <a:gdLst>
                <a:gd name="T0" fmla="*/ 32 w 35"/>
                <a:gd name="T1" fmla="*/ 18 h 36"/>
                <a:gd name="T2" fmla="*/ 31 w 35"/>
                <a:gd name="T3" fmla="*/ 15 h 36"/>
                <a:gd name="T4" fmla="*/ 35 w 35"/>
                <a:gd name="T5" fmla="*/ 12 h 36"/>
                <a:gd name="T6" fmla="*/ 31 w 35"/>
                <a:gd name="T7" fmla="*/ 6 h 36"/>
                <a:gd name="T8" fmla="*/ 27 w 35"/>
                <a:gd name="T9" fmla="*/ 8 h 36"/>
                <a:gd name="T10" fmla="*/ 22 w 35"/>
                <a:gd name="T11" fmla="*/ 5 h 36"/>
                <a:gd name="T12" fmla="*/ 22 w 35"/>
                <a:gd name="T13" fmla="*/ 0 h 36"/>
                <a:gd name="T14" fmla="*/ 14 w 35"/>
                <a:gd name="T15" fmla="*/ 0 h 36"/>
                <a:gd name="T16" fmla="*/ 14 w 35"/>
                <a:gd name="T17" fmla="*/ 5 h 36"/>
                <a:gd name="T18" fmla="*/ 8 w 35"/>
                <a:gd name="T19" fmla="*/ 8 h 36"/>
                <a:gd name="T20" fmla="*/ 4 w 35"/>
                <a:gd name="T21" fmla="*/ 6 h 36"/>
                <a:gd name="T22" fmla="*/ 0 w 35"/>
                <a:gd name="T23" fmla="*/ 12 h 36"/>
                <a:gd name="T24" fmla="*/ 4 w 35"/>
                <a:gd name="T25" fmla="*/ 15 h 36"/>
                <a:gd name="T26" fmla="*/ 4 w 35"/>
                <a:gd name="T27" fmla="*/ 18 h 36"/>
                <a:gd name="T28" fmla="*/ 4 w 35"/>
                <a:gd name="T29" fmla="*/ 21 h 36"/>
                <a:gd name="T30" fmla="*/ 0 w 35"/>
                <a:gd name="T31" fmla="*/ 24 h 36"/>
                <a:gd name="T32" fmla="*/ 4 w 35"/>
                <a:gd name="T33" fmla="*/ 30 h 36"/>
                <a:gd name="T34" fmla="*/ 8 w 35"/>
                <a:gd name="T35" fmla="*/ 28 h 36"/>
                <a:gd name="T36" fmla="*/ 14 w 35"/>
                <a:gd name="T37" fmla="*/ 31 h 36"/>
                <a:gd name="T38" fmla="*/ 14 w 35"/>
                <a:gd name="T39" fmla="*/ 36 h 36"/>
                <a:gd name="T40" fmla="*/ 22 w 35"/>
                <a:gd name="T41" fmla="*/ 36 h 36"/>
                <a:gd name="T42" fmla="*/ 22 w 35"/>
                <a:gd name="T43" fmla="*/ 31 h 36"/>
                <a:gd name="T44" fmla="*/ 27 w 35"/>
                <a:gd name="T45" fmla="*/ 28 h 36"/>
                <a:gd name="T46" fmla="*/ 31 w 35"/>
                <a:gd name="T47" fmla="*/ 30 h 36"/>
                <a:gd name="T48" fmla="*/ 35 w 35"/>
                <a:gd name="T49" fmla="*/ 24 h 36"/>
                <a:gd name="T50" fmla="*/ 31 w 35"/>
                <a:gd name="T51" fmla="*/ 21 h 36"/>
                <a:gd name="T52" fmla="*/ 32 w 35"/>
                <a:gd name="T5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" h="36">
                  <a:moveTo>
                    <a:pt x="32" y="18"/>
                  </a:moveTo>
                  <a:cubicBezTo>
                    <a:pt x="32" y="17"/>
                    <a:pt x="32" y="16"/>
                    <a:pt x="31" y="15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6"/>
                    <a:pt x="24" y="5"/>
                    <a:pt x="22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0" y="6"/>
                    <a:pt x="8" y="8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0" y="30"/>
                    <a:pt x="12" y="31"/>
                    <a:pt x="14" y="3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4" y="31"/>
                    <a:pt x="26" y="30"/>
                    <a:pt x="27" y="28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4243295-1E05-7F0A-1446-996788F10D7B}"/>
              </a:ext>
            </a:extLst>
          </p:cNvPr>
          <p:cNvGrpSpPr/>
          <p:nvPr/>
        </p:nvGrpSpPr>
        <p:grpSpPr>
          <a:xfrm>
            <a:off x="4539336" y="4152763"/>
            <a:ext cx="288925" cy="346075"/>
            <a:chOff x="2709863" y="5800726"/>
            <a:chExt cx="288925" cy="346075"/>
          </a:xfrm>
        </p:grpSpPr>
        <p:sp>
          <p:nvSpPr>
            <p:cNvPr id="98" name="Freeform 880">
              <a:extLst>
                <a:ext uri="{FF2B5EF4-FFF2-40B4-BE49-F238E27FC236}">
                  <a16:creationId xmlns:a16="http://schemas.microsoft.com/office/drawing/2014/main" id="{66E5C6B1-1E1A-F1C8-8BF4-B60027F2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5921376"/>
              <a:ext cx="271463" cy="60325"/>
            </a:xfrm>
            <a:custGeom>
              <a:avLst/>
              <a:gdLst>
                <a:gd name="T0" fmla="*/ 0 w 72"/>
                <a:gd name="T1" fmla="*/ 0 h 16"/>
                <a:gd name="T2" fmla="*/ 0 w 72"/>
                <a:gd name="T3" fmla="*/ 0 h 16"/>
                <a:gd name="T4" fmla="*/ 16 w 72"/>
                <a:gd name="T5" fmla="*/ 16 h 16"/>
                <a:gd name="T6" fmla="*/ 72 w 7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7" y="16"/>
                    <a:pt x="16" y="16"/>
                  </a:cubicBezTo>
                  <a:cubicBezTo>
                    <a:pt x="72" y="16"/>
                    <a:pt x="72" y="16"/>
                    <a:pt x="72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Line 881">
              <a:extLst>
                <a:ext uri="{FF2B5EF4-FFF2-40B4-BE49-F238E27FC236}">
                  <a16:creationId xmlns:a16="http://schemas.microsoft.com/office/drawing/2014/main" id="{5687AE9A-C2DB-62CF-0D24-DCEA8C814A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11463" y="5921376"/>
              <a:ext cx="0" cy="1190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Line 882">
              <a:extLst>
                <a:ext uri="{FF2B5EF4-FFF2-40B4-BE49-F238E27FC236}">
                  <a16:creationId xmlns:a16="http://schemas.microsoft.com/office/drawing/2014/main" id="{3E069705-A2D4-1DE6-779E-C19CD4F348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01950" y="5921376"/>
              <a:ext cx="0" cy="1190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Line 883">
              <a:extLst>
                <a:ext uri="{FF2B5EF4-FFF2-40B4-BE49-F238E27FC236}">
                  <a16:creationId xmlns:a16="http://schemas.microsoft.com/office/drawing/2014/main" id="{FEE2ED98-CCB4-2EC1-92F6-85FD42DD52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92438" y="5921376"/>
              <a:ext cx="0" cy="1190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4">
              <a:extLst>
                <a:ext uri="{FF2B5EF4-FFF2-40B4-BE49-F238E27FC236}">
                  <a16:creationId xmlns:a16="http://schemas.microsoft.com/office/drawing/2014/main" id="{1140B71E-385B-75C9-1EFC-17E2A03F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9863" y="5800726"/>
              <a:ext cx="30163" cy="63500"/>
            </a:xfrm>
            <a:custGeom>
              <a:avLst/>
              <a:gdLst>
                <a:gd name="T0" fmla="*/ 0 w 8"/>
                <a:gd name="T1" fmla="*/ 17 h 17"/>
                <a:gd name="T2" fmla="*/ 0 w 8"/>
                <a:gd name="T3" fmla="*/ 0 h 17"/>
                <a:gd name="T4" fmla="*/ 4 w 8"/>
                <a:gd name="T5" fmla="*/ 0 h 17"/>
                <a:gd name="T6" fmla="*/ 8 w 8"/>
                <a:gd name="T7" fmla="*/ 4 h 17"/>
                <a:gd name="T8" fmla="*/ 4 w 8"/>
                <a:gd name="T9" fmla="*/ 8 h 17"/>
                <a:gd name="T10" fmla="*/ 0 w 8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7">
                  <a:moveTo>
                    <a:pt x="0" y="1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Line 885">
              <a:extLst>
                <a:ext uri="{FF2B5EF4-FFF2-40B4-BE49-F238E27FC236}">
                  <a16:creationId xmlns:a16="http://schemas.microsoft.com/office/drawing/2014/main" id="{1E3DE94C-EA4D-6A5E-65CF-2B9305F53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5738" y="5830888"/>
              <a:ext cx="14288" cy="3333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886">
              <a:extLst>
                <a:ext uri="{FF2B5EF4-FFF2-40B4-BE49-F238E27FC236}">
                  <a16:creationId xmlns:a16="http://schemas.microsoft.com/office/drawing/2014/main" id="{C5E09651-030D-95C2-2E5D-BBB393BA5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5800726"/>
              <a:ext cx="7938" cy="63500"/>
            </a:xfrm>
            <a:custGeom>
              <a:avLst/>
              <a:gdLst>
                <a:gd name="T0" fmla="*/ 5 w 5"/>
                <a:gd name="T1" fmla="*/ 40 h 40"/>
                <a:gd name="T2" fmla="*/ 5 w 5"/>
                <a:gd name="T3" fmla="*/ 0 h 40"/>
                <a:gd name="T4" fmla="*/ 0 w 5"/>
                <a:gd name="T5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0">
                  <a:moveTo>
                    <a:pt x="5" y="40"/>
                  </a:moveTo>
                  <a:lnTo>
                    <a:pt x="5" y="0"/>
                  </a:lnTo>
                  <a:lnTo>
                    <a:pt x="0" y="5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887">
              <a:extLst>
                <a:ext uri="{FF2B5EF4-FFF2-40B4-BE49-F238E27FC236}">
                  <a16:creationId xmlns:a16="http://schemas.microsoft.com/office/drawing/2014/main" id="{238FEDEB-9BFC-EA81-6267-10D1A417D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725" y="6081713"/>
              <a:ext cx="30163" cy="65088"/>
            </a:xfrm>
            <a:custGeom>
              <a:avLst/>
              <a:gdLst>
                <a:gd name="T0" fmla="*/ 16 w 19"/>
                <a:gd name="T1" fmla="*/ 41 h 41"/>
                <a:gd name="T2" fmla="*/ 16 w 19"/>
                <a:gd name="T3" fmla="*/ 0 h 41"/>
                <a:gd name="T4" fmla="*/ 0 w 19"/>
                <a:gd name="T5" fmla="*/ 27 h 41"/>
                <a:gd name="T6" fmla="*/ 19 w 19"/>
                <a:gd name="T7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1">
                  <a:moveTo>
                    <a:pt x="16" y="41"/>
                  </a:moveTo>
                  <a:lnTo>
                    <a:pt x="16" y="0"/>
                  </a:lnTo>
                  <a:lnTo>
                    <a:pt x="0" y="27"/>
                  </a:lnTo>
                  <a:lnTo>
                    <a:pt x="19" y="2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Oval 888">
              <a:extLst>
                <a:ext uri="{FF2B5EF4-FFF2-40B4-BE49-F238E27FC236}">
                  <a16:creationId xmlns:a16="http://schemas.microsoft.com/office/drawing/2014/main" id="{C3B26357-418D-B1F1-DE0B-14CA74A4C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13" y="6108701"/>
              <a:ext cx="28575" cy="38100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889">
              <a:extLst>
                <a:ext uri="{FF2B5EF4-FFF2-40B4-BE49-F238E27FC236}">
                  <a16:creationId xmlns:a16="http://schemas.microsoft.com/office/drawing/2014/main" id="{C5AE915D-3B62-08F0-4A3E-5C08AECBC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213" y="6081713"/>
              <a:ext cx="22225" cy="46038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7 h 12"/>
                <a:gd name="T4" fmla="*/ 0 w 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cubicBezTo>
                    <a:pt x="0" y="0"/>
                    <a:pt x="0" y="5"/>
                    <a:pt x="0" y="7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890">
              <a:extLst>
                <a:ext uri="{FF2B5EF4-FFF2-40B4-BE49-F238E27FC236}">
                  <a16:creationId xmlns:a16="http://schemas.microsoft.com/office/drawing/2014/main" id="{B1AB53D5-99AC-FA5E-6A69-1986AC962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213" y="5800726"/>
              <a:ext cx="25400" cy="63500"/>
            </a:xfrm>
            <a:custGeom>
              <a:avLst/>
              <a:gdLst>
                <a:gd name="T0" fmla="*/ 7 w 7"/>
                <a:gd name="T1" fmla="*/ 0 h 17"/>
                <a:gd name="T2" fmla="*/ 0 w 7"/>
                <a:gd name="T3" fmla="*/ 0 h 17"/>
                <a:gd name="T4" fmla="*/ 0 w 7"/>
                <a:gd name="T5" fmla="*/ 8 h 17"/>
                <a:gd name="T6" fmla="*/ 4 w 7"/>
                <a:gd name="T7" fmla="*/ 8 h 17"/>
                <a:gd name="T8" fmla="*/ 7 w 7"/>
                <a:gd name="T9" fmla="*/ 12 h 17"/>
                <a:gd name="T10" fmla="*/ 4 w 7"/>
                <a:gd name="T11" fmla="*/ 17 h 17"/>
                <a:gd name="T12" fmla="*/ 0 w 7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7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8"/>
                    <a:pt x="7" y="11"/>
                    <a:pt x="7" y="12"/>
                  </a:cubicBezTo>
                  <a:cubicBezTo>
                    <a:pt x="7" y="14"/>
                    <a:pt x="7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891">
              <a:extLst>
                <a:ext uri="{FF2B5EF4-FFF2-40B4-BE49-F238E27FC236}">
                  <a16:creationId xmlns:a16="http://schemas.microsoft.com/office/drawing/2014/main" id="{A48423B5-E9F2-9BF9-F360-769F07FC7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350" y="6081713"/>
              <a:ext cx="30163" cy="65088"/>
            </a:xfrm>
            <a:custGeom>
              <a:avLst/>
              <a:gdLst>
                <a:gd name="T0" fmla="*/ 0 w 8"/>
                <a:gd name="T1" fmla="*/ 4 h 17"/>
                <a:gd name="T2" fmla="*/ 4 w 8"/>
                <a:gd name="T3" fmla="*/ 0 h 17"/>
                <a:gd name="T4" fmla="*/ 8 w 8"/>
                <a:gd name="T5" fmla="*/ 4 h 17"/>
                <a:gd name="T6" fmla="*/ 7 w 8"/>
                <a:gd name="T7" fmla="*/ 6 h 17"/>
                <a:gd name="T8" fmla="*/ 0 w 8"/>
                <a:gd name="T9" fmla="*/ 17 h 17"/>
                <a:gd name="T10" fmla="*/ 8 w 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7">
                  <a:moveTo>
                    <a:pt x="0" y="4"/>
                  </a:move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"/>
                    <a:pt x="7" y="6"/>
                    <a:pt x="7" y="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8" y="17"/>
                    <a:pt x="8" y="17"/>
                    <a:pt x="8" y="17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892">
              <a:extLst>
                <a:ext uri="{FF2B5EF4-FFF2-40B4-BE49-F238E27FC236}">
                  <a16:creationId xmlns:a16="http://schemas.microsoft.com/office/drawing/2014/main" id="{EF83CAC6-8401-FB1D-89F8-E5D8FCCAD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725" y="5800726"/>
              <a:ext cx="30163" cy="30163"/>
            </a:xfrm>
            <a:custGeom>
              <a:avLst/>
              <a:gdLst>
                <a:gd name="T0" fmla="*/ 0 w 8"/>
                <a:gd name="T1" fmla="*/ 4 h 8"/>
                <a:gd name="T2" fmla="*/ 4 w 8"/>
                <a:gd name="T3" fmla="*/ 0 h 8"/>
                <a:gd name="T4" fmla="*/ 8 w 8"/>
                <a:gd name="T5" fmla="*/ 4 h 8"/>
                <a:gd name="T6" fmla="*/ 4 w 8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4"/>
                  </a:moveTo>
                  <a:cubicBezTo>
                    <a:pt x="0" y="2"/>
                    <a:pt x="1" y="0"/>
                    <a:pt x="4" y="0"/>
                  </a:cubicBezTo>
                  <a:cubicBezTo>
                    <a:pt x="7" y="0"/>
                    <a:pt x="8" y="3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893">
              <a:extLst>
                <a:ext uri="{FF2B5EF4-FFF2-40B4-BE49-F238E27FC236}">
                  <a16:creationId xmlns:a16="http://schemas.microsoft.com/office/drawing/2014/main" id="{F054196A-5B62-B12D-2873-928BCF59F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725" y="5830888"/>
              <a:ext cx="30163" cy="33338"/>
            </a:xfrm>
            <a:custGeom>
              <a:avLst/>
              <a:gdLst>
                <a:gd name="T0" fmla="*/ 0 w 8"/>
                <a:gd name="T1" fmla="*/ 5 h 9"/>
                <a:gd name="T2" fmla="*/ 4 w 8"/>
                <a:gd name="T3" fmla="*/ 9 h 9"/>
                <a:gd name="T4" fmla="*/ 8 w 8"/>
                <a:gd name="T5" fmla="*/ 5 h 9"/>
                <a:gd name="T6" fmla="*/ 4 w 8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5"/>
                  </a:moveTo>
                  <a:cubicBezTo>
                    <a:pt x="0" y="7"/>
                    <a:pt x="1" y="9"/>
                    <a:pt x="4" y="9"/>
                  </a:cubicBezTo>
                  <a:cubicBezTo>
                    <a:pt x="7" y="9"/>
                    <a:pt x="8" y="6"/>
                    <a:pt x="8" y="5"/>
                  </a:cubicBezTo>
                  <a:cubicBezTo>
                    <a:pt x="8" y="3"/>
                    <a:pt x="7" y="0"/>
                    <a:pt x="4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59870B-D262-91BE-7F9D-16B51D088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>
                <a:solidFill>
                  <a:schemeClr val="bg1"/>
                </a:solidFill>
              </a:rPr>
              <a:t>8</a:t>
            </a:fld>
            <a:endParaRPr lang="en-ID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0284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black car parked near green trees during daytime">
            <a:extLst>
              <a:ext uri="{FF2B5EF4-FFF2-40B4-BE49-F238E27FC236}">
                <a16:creationId xmlns:a16="http://schemas.microsoft.com/office/drawing/2014/main" id="{80308513-0DBC-C5B7-5512-4D0472A92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771" r="10634" b="7775"/>
          <a:stretch>
            <a:fillRect/>
          </a:stretch>
        </p:blipFill>
        <p:spPr bwMode="auto">
          <a:xfrm>
            <a:off x="4251286" y="0"/>
            <a:ext cx="7940715" cy="6858000"/>
          </a:xfrm>
          <a:custGeom>
            <a:avLst/>
            <a:gdLst>
              <a:gd name="connsiteX0" fmla="*/ 0 w 7940715"/>
              <a:gd name="connsiteY0" fmla="*/ 0 h 6858000"/>
              <a:gd name="connsiteX1" fmla="*/ 7940715 w 7940715"/>
              <a:gd name="connsiteY1" fmla="*/ 0 h 6858000"/>
              <a:gd name="connsiteX2" fmla="*/ 7940715 w 7940715"/>
              <a:gd name="connsiteY2" fmla="*/ 6858000 h 6858000"/>
              <a:gd name="connsiteX3" fmla="*/ 0 w 79407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40715" h="6858000">
                <a:moveTo>
                  <a:pt x="0" y="0"/>
                </a:moveTo>
                <a:lnTo>
                  <a:pt x="7940715" y="0"/>
                </a:lnTo>
                <a:lnTo>
                  <a:pt x="7940715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: Top Corners Rounded 1035">
            <a:extLst>
              <a:ext uri="{FF2B5EF4-FFF2-40B4-BE49-F238E27FC236}">
                <a16:creationId xmlns:a16="http://schemas.microsoft.com/office/drawing/2014/main" id="{AF4124C0-060C-8F89-C6CC-B3FB70FD5D62}"/>
              </a:ext>
            </a:extLst>
          </p:cNvPr>
          <p:cNvSpPr/>
          <p:nvPr/>
        </p:nvSpPr>
        <p:spPr>
          <a:xfrm flipV="1">
            <a:off x="1454658" y="5937814"/>
            <a:ext cx="8033988" cy="381965"/>
          </a:xfrm>
          <a:prstGeom prst="round2SameRect">
            <a:avLst>
              <a:gd name="adj1" fmla="val 43940"/>
              <a:gd name="adj2" fmla="val 0"/>
            </a:avLst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F9033DD-6772-160F-BA17-A1424F76E763}"/>
              </a:ext>
            </a:extLst>
          </p:cNvPr>
          <p:cNvSpPr/>
          <p:nvPr/>
        </p:nvSpPr>
        <p:spPr>
          <a:xfrm>
            <a:off x="521110" y="844331"/>
            <a:ext cx="9901084" cy="5329084"/>
          </a:xfrm>
          <a:custGeom>
            <a:avLst/>
            <a:gdLst>
              <a:gd name="connsiteX0" fmla="*/ 0 w 9901084"/>
              <a:gd name="connsiteY0" fmla="*/ 0 h 5329084"/>
              <a:gd name="connsiteX1" fmla="*/ 9438097 w 9901084"/>
              <a:gd name="connsiteY1" fmla="*/ 0 h 5329084"/>
              <a:gd name="connsiteX2" fmla="*/ 9901084 w 9901084"/>
              <a:gd name="connsiteY2" fmla="*/ 462987 h 5329084"/>
              <a:gd name="connsiteX3" fmla="*/ 9901084 w 9901084"/>
              <a:gd name="connsiteY3" fmla="*/ 5329084 h 5329084"/>
              <a:gd name="connsiteX4" fmla="*/ 0 w 9901084"/>
              <a:gd name="connsiteY4" fmla="*/ 5329084 h 5329084"/>
              <a:gd name="connsiteX5" fmla="*/ 0 w 9901084"/>
              <a:gd name="connsiteY5" fmla="*/ 0 h 5329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1084" h="5329084">
                <a:moveTo>
                  <a:pt x="0" y="0"/>
                </a:moveTo>
                <a:lnTo>
                  <a:pt x="9438097" y="0"/>
                </a:lnTo>
                <a:lnTo>
                  <a:pt x="9901084" y="462987"/>
                </a:lnTo>
                <a:lnTo>
                  <a:pt x="9901084" y="5329084"/>
                </a:lnTo>
                <a:lnTo>
                  <a:pt x="0" y="532908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0DF46D-570A-F423-3BCF-192145CBA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291" y="1131010"/>
            <a:ext cx="3940277" cy="734101"/>
          </a:xfrm>
        </p:spPr>
        <p:txBody>
          <a:bodyPr/>
          <a:lstStyle/>
          <a:p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erag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A4F5E0-FC33-2C0A-3652-CF2E97BF7BBD}"/>
              </a:ext>
            </a:extLst>
          </p:cNvPr>
          <p:cNvSpPr txBox="1"/>
          <p:nvPr/>
        </p:nvSpPr>
        <p:spPr>
          <a:xfrm>
            <a:off x="767291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odily injury li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99EDF6-5779-2ACB-5617-784E405AC339}"/>
              </a:ext>
            </a:extLst>
          </p:cNvPr>
          <p:cNvSpPr txBox="1"/>
          <p:nvPr/>
        </p:nvSpPr>
        <p:spPr>
          <a:xfrm>
            <a:off x="4067653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lli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99E5D2-0CDA-85C1-E4C6-BD9FB6A897C0}"/>
              </a:ext>
            </a:extLst>
          </p:cNvPr>
          <p:cNvSpPr txBox="1"/>
          <p:nvPr/>
        </p:nvSpPr>
        <p:spPr>
          <a:xfrm>
            <a:off x="7368015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rehensiv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D174F6-56AC-8A69-497E-216D23231963}"/>
              </a:ext>
            </a:extLst>
          </p:cNvPr>
          <p:cNvCxnSpPr>
            <a:cxnSpLocks/>
          </p:cNvCxnSpPr>
          <p:nvPr/>
        </p:nvCxnSpPr>
        <p:spPr>
          <a:xfrm>
            <a:off x="3821472" y="2156262"/>
            <a:ext cx="0" cy="32361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70591C2-E694-3E4B-39D9-32279E2558D0}"/>
              </a:ext>
            </a:extLst>
          </p:cNvPr>
          <p:cNvCxnSpPr>
            <a:cxnSpLocks/>
          </p:cNvCxnSpPr>
          <p:nvPr/>
        </p:nvCxnSpPr>
        <p:spPr>
          <a:xfrm>
            <a:off x="7121834" y="2156262"/>
            <a:ext cx="0" cy="32361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C89B054-FEF0-FCDF-9BEF-8179622AFDC1}"/>
              </a:ext>
            </a:extLst>
          </p:cNvPr>
          <p:cNvSpPr txBox="1"/>
          <p:nvPr/>
        </p:nvSpPr>
        <p:spPr>
          <a:xfrm>
            <a:off x="796413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mp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307F448-96EC-D4CF-FD39-A37C4D95CD8C}"/>
              </a:ext>
            </a:extLst>
          </p:cNvPr>
          <p:cNvSpPr txBox="1"/>
          <p:nvPr/>
        </p:nvSpPr>
        <p:spPr>
          <a:xfrm>
            <a:off x="4067653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mp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7FE70A-50CE-091A-A0B5-270AAF60FCFC}"/>
              </a:ext>
            </a:extLst>
          </p:cNvPr>
          <p:cNvSpPr txBox="1"/>
          <p:nvPr/>
        </p:nvSpPr>
        <p:spPr>
          <a:xfrm>
            <a:off x="7383654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mp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8E2DAA-7834-76F8-1A2D-E22006EB49E9}"/>
              </a:ext>
            </a:extLst>
          </p:cNvPr>
          <p:cNvSpPr txBox="1"/>
          <p:nvPr/>
        </p:nvSpPr>
        <p:spPr>
          <a:xfrm>
            <a:off x="796413" y="3640369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EE60D8-547C-6179-7779-B6D8E3952874}"/>
              </a:ext>
            </a:extLst>
          </p:cNvPr>
          <p:cNvSpPr txBox="1"/>
          <p:nvPr/>
        </p:nvSpPr>
        <p:spPr>
          <a:xfrm>
            <a:off x="4070555" y="3640369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6A7C8F-64B6-FCBD-BEDA-23E182F081C5}"/>
              </a:ext>
            </a:extLst>
          </p:cNvPr>
          <p:cNvSpPr txBox="1"/>
          <p:nvPr/>
        </p:nvSpPr>
        <p:spPr>
          <a:xfrm>
            <a:off x="7423355" y="3640369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E494F9-2442-56B0-220D-404E146A7F9B}"/>
              </a:ext>
            </a:extLst>
          </p:cNvPr>
          <p:cNvSpPr txBox="1"/>
          <p:nvPr/>
        </p:nvSpPr>
        <p:spPr>
          <a:xfrm>
            <a:off x="796413" y="4166395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CF8379-22FA-F7B8-CAD2-A81C48F4ACC0}"/>
              </a:ext>
            </a:extLst>
          </p:cNvPr>
          <p:cNvSpPr txBox="1"/>
          <p:nvPr/>
        </p:nvSpPr>
        <p:spPr>
          <a:xfrm>
            <a:off x="4070555" y="4166395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723404C-41CD-8EEE-B4D4-ED9A89BA76BB}"/>
              </a:ext>
            </a:extLst>
          </p:cNvPr>
          <p:cNvSpPr txBox="1"/>
          <p:nvPr/>
        </p:nvSpPr>
        <p:spPr>
          <a:xfrm>
            <a:off x="7423355" y="4166395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9C90C32-B858-A5AE-6C4F-CD98252AEF0D}"/>
              </a:ext>
            </a:extLst>
          </p:cNvPr>
          <p:cNvSpPr txBox="1"/>
          <p:nvPr/>
        </p:nvSpPr>
        <p:spPr>
          <a:xfrm>
            <a:off x="796413" y="4692420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67E33A-05CC-A2BF-64C5-C89156BD44D5}"/>
              </a:ext>
            </a:extLst>
          </p:cNvPr>
          <p:cNvSpPr txBox="1"/>
          <p:nvPr/>
        </p:nvSpPr>
        <p:spPr>
          <a:xfrm>
            <a:off x="4070555" y="4692420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77F46B-1EE8-8CDC-23E9-F241073C8FA9}"/>
              </a:ext>
            </a:extLst>
          </p:cNvPr>
          <p:cNvSpPr txBox="1"/>
          <p:nvPr/>
        </p:nvSpPr>
        <p:spPr>
          <a:xfrm>
            <a:off x="7423355" y="4692420"/>
            <a:ext cx="2792361" cy="29496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1003"/>
              </a:buClr>
              <a:buSzTx/>
              <a:buFont typeface="Segoe UI" panose="020B0502040204020203" pitchFamily="34" charset="0"/>
              <a:buChar char="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m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9B960D45-A878-14E4-626B-09037AD823DE}"/>
              </a:ext>
            </a:extLst>
          </p:cNvPr>
          <p:cNvSpPr/>
          <p:nvPr/>
        </p:nvSpPr>
        <p:spPr>
          <a:xfrm>
            <a:off x="9959207" y="844331"/>
            <a:ext cx="462987" cy="462987"/>
          </a:xfrm>
          <a:prstGeom prst="rtTriangle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7" name="Rectangle: Top Corners Rounded 1036">
            <a:extLst>
              <a:ext uri="{FF2B5EF4-FFF2-40B4-BE49-F238E27FC236}">
                <a16:creationId xmlns:a16="http://schemas.microsoft.com/office/drawing/2014/main" id="{DFD2290D-1F15-EB50-0C34-5C7CCCC70271}"/>
              </a:ext>
            </a:extLst>
          </p:cNvPr>
          <p:cNvSpPr/>
          <p:nvPr/>
        </p:nvSpPr>
        <p:spPr>
          <a:xfrm>
            <a:off x="1655639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8" name="Rectangle: Top Corners Rounded 1037">
            <a:extLst>
              <a:ext uri="{FF2B5EF4-FFF2-40B4-BE49-F238E27FC236}">
                <a16:creationId xmlns:a16="http://schemas.microsoft.com/office/drawing/2014/main" id="{759E67BB-DEC7-7619-917F-8A6EED0AE88C}"/>
              </a:ext>
            </a:extLst>
          </p:cNvPr>
          <p:cNvSpPr/>
          <p:nvPr/>
        </p:nvSpPr>
        <p:spPr>
          <a:xfrm>
            <a:off x="4956001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9" name="Rectangle: Top Corners Rounded 1038">
            <a:extLst>
              <a:ext uri="{FF2B5EF4-FFF2-40B4-BE49-F238E27FC236}">
                <a16:creationId xmlns:a16="http://schemas.microsoft.com/office/drawing/2014/main" id="{B7DBC684-61BF-3301-11F6-E09B35B67391}"/>
              </a:ext>
            </a:extLst>
          </p:cNvPr>
          <p:cNvSpPr/>
          <p:nvPr/>
        </p:nvSpPr>
        <p:spPr>
          <a:xfrm>
            <a:off x="8256363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7179172-4449-7D13-0EA9-526DA08D28BA}"/>
              </a:ext>
            </a:extLst>
          </p:cNvPr>
          <p:cNvGrpSpPr/>
          <p:nvPr/>
        </p:nvGrpSpPr>
        <p:grpSpPr>
          <a:xfrm>
            <a:off x="5271450" y="5590395"/>
            <a:ext cx="380334" cy="418752"/>
            <a:chOff x="9449402" y="838073"/>
            <a:chExt cx="314325" cy="346076"/>
          </a:xfrm>
        </p:grpSpPr>
        <p:sp>
          <p:nvSpPr>
            <p:cNvPr id="47" name="Rectangle 410">
              <a:extLst>
                <a:ext uri="{FF2B5EF4-FFF2-40B4-BE49-F238E27FC236}">
                  <a16:creationId xmlns:a16="http://schemas.microsoft.com/office/drawing/2014/main" id="{BD523F52-7FF1-5F7B-EE7E-58913128E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3690" y="1153986"/>
              <a:ext cx="46038" cy="301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11">
              <a:extLst>
                <a:ext uri="{FF2B5EF4-FFF2-40B4-BE49-F238E27FC236}">
                  <a16:creationId xmlns:a16="http://schemas.microsoft.com/office/drawing/2014/main" id="{B7DCBE78-4842-F835-4F69-9C04F6796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4827" y="1153986"/>
              <a:ext cx="44450" cy="301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12">
              <a:extLst>
                <a:ext uri="{FF2B5EF4-FFF2-40B4-BE49-F238E27FC236}">
                  <a16:creationId xmlns:a16="http://schemas.microsoft.com/office/drawing/2014/main" id="{2228D2E0-72E0-C377-C894-1F630378F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9402" y="1063498"/>
              <a:ext cx="284163" cy="90488"/>
            </a:xfrm>
            <a:custGeom>
              <a:avLst/>
              <a:gdLst>
                <a:gd name="T0" fmla="*/ 179 w 179"/>
                <a:gd name="T1" fmla="*/ 57 h 57"/>
                <a:gd name="T2" fmla="*/ 179 w 179"/>
                <a:gd name="T3" fmla="*/ 19 h 57"/>
                <a:gd name="T4" fmla="*/ 161 w 179"/>
                <a:gd name="T5" fmla="*/ 0 h 57"/>
                <a:gd name="T6" fmla="*/ 19 w 179"/>
                <a:gd name="T7" fmla="*/ 0 h 57"/>
                <a:gd name="T8" fmla="*/ 0 w 179"/>
                <a:gd name="T9" fmla="*/ 19 h 57"/>
                <a:gd name="T10" fmla="*/ 0 w 179"/>
                <a:gd name="T11" fmla="*/ 57 h 57"/>
                <a:gd name="T12" fmla="*/ 179 w 17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9" h="57">
                  <a:moveTo>
                    <a:pt x="179" y="57"/>
                  </a:moveTo>
                  <a:lnTo>
                    <a:pt x="179" y="19"/>
                  </a:ln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179" y="57"/>
                  </a:lnTo>
                  <a:close/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13">
              <a:extLst>
                <a:ext uri="{FF2B5EF4-FFF2-40B4-BE49-F238E27FC236}">
                  <a16:creationId xmlns:a16="http://schemas.microsoft.com/office/drawing/2014/main" id="{CD24DE2C-3A4D-06E8-8583-D8462F076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9565" y="988886"/>
              <a:ext cx="225425" cy="74613"/>
            </a:xfrm>
            <a:custGeom>
              <a:avLst/>
              <a:gdLst>
                <a:gd name="T0" fmla="*/ 54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47">
                  <a:moveTo>
                    <a:pt x="54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Line 414">
              <a:extLst>
                <a:ext uri="{FF2B5EF4-FFF2-40B4-BE49-F238E27FC236}">
                  <a16:creationId xmlns:a16="http://schemas.microsoft.com/office/drawing/2014/main" id="{974B0724-5CC2-E032-1CDF-CF50A5E384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49402" y="1123823"/>
              <a:ext cx="66675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Line 415">
              <a:extLst>
                <a:ext uri="{FF2B5EF4-FFF2-40B4-BE49-F238E27FC236}">
                  <a16:creationId xmlns:a16="http://schemas.microsoft.com/office/drawing/2014/main" id="{E3DBEB85-B0D7-5124-DBAD-709E7B2FA0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66890" y="1123823"/>
              <a:ext cx="66675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416">
              <a:extLst>
                <a:ext uri="{FF2B5EF4-FFF2-40B4-BE49-F238E27FC236}">
                  <a16:creationId xmlns:a16="http://schemas.microsoft.com/office/drawing/2014/main" id="{9EF03AF1-EBD3-BCEB-37E5-A52DACE7DC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627" y="838073"/>
              <a:ext cx="165100" cy="1952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417">
              <a:extLst>
                <a:ext uri="{FF2B5EF4-FFF2-40B4-BE49-F238E27FC236}">
                  <a16:creationId xmlns:a16="http://schemas.microsoft.com/office/drawing/2014/main" id="{357A2134-A2B0-DF79-2A66-9BB1A39A6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8790" y="868236"/>
              <a:ext cx="104775" cy="134938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18">
              <a:extLst>
                <a:ext uri="{FF2B5EF4-FFF2-40B4-BE49-F238E27FC236}">
                  <a16:creationId xmlns:a16="http://schemas.microsoft.com/office/drawing/2014/main" id="{ECB08373-31A8-CC8D-C49C-5DC5D0E90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8952" y="890461"/>
              <a:ext cx="46038" cy="30163"/>
            </a:xfrm>
            <a:custGeom>
              <a:avLst/>
              <a:gdLst>
                <a:gd name="T0" fmla="*/ 0 w 29"/>
                <a:gd name="T1" fmla="*/ 8 h 19"/>
                <a:gd name="T2" fmla="*/ 7 w 29"/>
                <a:gd name="T3" fmla="*/ 19 h 19"/>
                <a:gd name="T4" fmla="*/ 29 w 2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9">
                  <a:moveTo>
                    <a:pt x="0" y="8"/>
                  </a:moveTo>
                  <a:lnTo>
                    <a:pt x="7" y="19"/>
                  </a:lnTo>
                  <a:lnTo>
                    <a:pt x="29" y="0"/>
                  </a:ln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419">
              <a:extLst>
                <a:ext uri="{FF2B5EF4-FFF2-40B4-BE49-F238E27FC236}">
                  <a16:creationId xmlns:a16="http://schemas.microsoft.com/office/drawing/2014/main" id="{FFED2F23-8ED9-42B4-F6CF-4B3F8BD4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8952" y="936498"/>
              <a:ext cx="46038" cy="30163"/>
            </a:xfrm>
            <a:custGeom>
              <a:avLst/>
              <a:gdLst>
                <a:gd name="T0" fmla="*/ 0 w 29"/>
                <a:gd name="T1" fmla="*/ 7 h 19"/>
                <a:gd name="T2" fmla="*/ 7 w 29"/>
                <a:gd name="T3" fmla="*/ 19 h 19"/>
                <a:gd name="T4" fmla="*/ 29 w 29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9">
                  <a:moveTo>
                    <a:pt x="0" y="7"/>
                  </a:moveTo>
                  <a:lnTo>
                    <a:pt x="7" y="19"/>
                  </a:lnTo>
                  <a:lnTo>
                    <a:pt x="29" y="0"/>
                  </a:ln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2A0FFCE-5206-32B3-F834-9B4130450B6E}"/>
              </a:ext>
            </a:extLst>
          </p:cNvPr>
          <p:cNvGrpSpPr/>
          <p:nvPr/>
        </p:nvGrpSpPr>
        <p:grpSpPr>
          <a:xfrm>
            <a:off x="1998412" y="5687207"/>
            <a:ext cx="345758" cy="326550"/>
            <a:chOff x="8727090" y="1634998"/>
            <a:chExt cx="285750" cy="269876"/>
          </a:xfrm>
        </p:grpSpPr>
        <p:sp>
          <p:nvSpPr>
            <p:cNvPr id="58" name="Rectangle 659">
              <a:extLst>
                <a:ext uri="{FF2B5EF4-FFF2-40B4-BE49-F238E27FC236}">
                  <a16:creationId xmlns:a16="http://schemas.microsoft.com/office/drawing/2014/main" id="{30CAC443-EEF3-F7EC-5AA2-4457D59E7E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2965" y="1800098"/>
              <a:ext cx="44450" cy="301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660">
              <a:extLst>
                <a:ext uri="{FF2B5EF4-FFF2-40B4-BE49-F238E27FC236}">
                  <a16:creationId xmlns:a16="http://schemas.microsoft.com/office/drawing/2014/main" id="{46678F82-DAC7-0822-3120-35EA94A3E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7090" y="1709611"/>
              <a:ext cx="285750" cy="90488"/>
            </a:xfrm>
            <a:custGeom>
              <a:avLst/>
              <a:gdLst>
                <a:gd name="T0" fmla="*/ 180 w 180"/>
                <a:gd name="T1" fmla="*/ 19 h 57"/>
                <a:gd name="T2" fmla="*/ 161 w 180"/>
                <a:gd name="T3" fmla="*/ 0 h 57"/>
                <a:gd name="T4" fmla="*/ 19 w 180"/>
                <a:gd name="T5" fmla="*/ 0 h 57"/>
                <a:gd name="T6" fmla="*/ 0 w 180"/>
                <a:gd name="T7" fmla="*/ 19 h 57"/>
                <a:gd name="T8" fmla="*/ 0 w 180"/>
                <a:gd name="T9" fmla="*/ 57 h 57"/>
                <a:gd name="T10" fmla="*/ 81 w 180"/>
                <a:gd name="T1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57">
                  <a:moveTo>
                    <a:pt x="180" y="19"/>
                  </a:move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81" y="57"/>
                  </a:ln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661">
              <a:extLst>
                <a:ext uri="{FF2B5EF4-FFF2-40B4-BE49-F238E27FC236}">
                  <a16:creationId xmlns:a16="http://schemas.microsoft.com/office/drawing/2014/main" id="{A9433D7D-54AD-104C-965D-5E5F3B633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7252" y="1634998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Line 662">
              <a:extLst>
                <a:ext uri="{FF2B5EF4-FFF2-40B4-BE49-F238E27FC236}">
                  <a16:creationId xmlns:a16="http://schemas.microsoft.com/office/drawing/2014/main" id="{03C90091-AEA1-B1FE-6052-2C77B80275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27090" y="1769936"/>
              <a:ext cx="68263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663">
              <a:extLst>
                <a:ext uri="{FF2B5EF4-FFF2-40B4-BE49-F238E27FC236}">
                  <a16:creationId xmlns:a16="http://schemas.microsoft.com/office/drawing/2014/main" id="{9FEAB2A5-84A2-EBC8-6DF8-5EA81A5EC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3777" y="1766761"/>
              <a:ext cx="119063" cy="138113"/>
            </a:xfrm>
            <a:custGeom>
              <a:avLst/>
              <a:gdLst>
                <a:gd name="T0" fmla="*/ 24 w 32"/>
                <a:gd name="T1" fmla="*/ 4 h 37"/>
                <a:gd name="T2" fmla="*/ 16 w 32"/>
                <a:gd name="T3" fmla="*/ 0 h 37"/>
                <a:gd name="T4" fmla="*/ 16 w 32"/>
                <a:gd name="T5" fmla="*/ 0 h 37"/>
                <a:gd name="T6" fmla="*/ 8 w 32"/>
                <a:gd name="T7" fmla="*/ 4 h 37"/>
                <a:gd name="T8" fmla="*/ 0 w 32"/>
                <a:gd name="T9" fmla="*/ 1 h 37"/>
                <a:gd name="T10" fmla="*/ 0 w 32"/>
                <a:gd name="T11" fmla="*/ 25 h 37"/>
                <a:gd name="T12" fmla="*/ 16 w 32"/>
                <a:gd name="T13" fmla="*/ 37 h 37"/>
                <a:gd name="T14" fmla="*/ 32 w 32"/>
                <a:gd name="T15" fmla="*/ 25 h 37"/>
                <a:gd name="T16" fmla="*/ 32 w 32"/>
                <a:gd name="T17" fmla="*/ 1 h 37"/>
                <a:gd name="T18" fmla="*/ 24 w 32"/>
                <a:gd name="T19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7">
                  <a:moveTo>
                    <a:pt x="24" y="4"/>
                  </a:moveTo>
                  <a:cubicBezTo>
                    <a:pt x="21" y="4"/>
                    <a:pt x="18" y="3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3"/>
                    <a:pt x="11" y="4"/>
                    <a:pt x="8" y="4"/>
                  </a:cubicBezTo>
                  <a:cubicBezTo>
                    <a:pt x="5" y="4"/>
                    <a:pt x="3" y="3"/>
                    <a:pt x="0" y="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2" y="33"/>
                    <a:pt x="16" y="37"/>
                  </a:cubicBezTo>
                  <a:cubicBezTo>
                    <a:pt x="30" y="33"/>
                    <a:pt x="32" y="25"/>
                    <a:pt x="32" y="25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9" y="3"/>
                    <a:pt x="27" y="4"/>
                    <a:pt x="24" y="4"/>
                  </a:cubicBezTo>
                  <a:close/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Line 664">
              <a:extLst>
                <a:ext uri="{FF2B5EF4-FFF2-40B4-BE49-F238E27FC236}">
                  <a16:creationId xmlns:a16="http://schemas.microsoft.com/office/drawing/2014/main" id="{FB9A9BD2-0B82-036F-22CF-484D3CED17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952515" y="1800098"/>
              <a:ext cx="0" cy="60325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4" name="Line 665">
              <a:extLst>
                <a:ext uri="{FF2B5EF4-FFF2-40B4-BE49-F238E27FC236}">
                  <a16:creationId xmlns:a16="http://schemas.microsoft.com/office/drawing/2014/main" id="{657B2DB8-445B-BA5E-61E3-B560170178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23940" y="1830261"/>
              <a:ext cx="58738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A02E6A26-02CC-FA0A-E981-AF40D84606A9}"/>
              </a:ext>
            </a:extLst>
          </p:cNvPr>
          <p:cNvGrpSpPr/>
          <p:nvPr/>
        </p:nvGrpSpPr>
        <p:grpSpPr>
          <a:xfrm>
            <a:off x="8580888" y="5590397"/>
            <a:ext cx="382254" cy="418751"/>
            <a:chOff x="10220929" y="2320926"/>
            <a:chExt cx="315913" cy="346075"/>
          </a:xfrm>
        </p:grpSpPr>
        <p:sp>
          <p:nvSpPr>
            <p:cNvPr id="1027" name="Freeform 846">
              <a:extLst>
                <a:ext uri="{FF2B5EF4-FFF2-40B4-BE49-F238E27FC236}">
                  <a16:creationId xmlns:a16="http://schemas.microsoft.com/office/drawing/2014/main" id="{985A5752-9B7C-881D-54F7-677ACC863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3317" y="2320926"/>
              <a:ext cx="263525" cy="203200"/>
            </a:xfrm>
            <a:custGeom>
              <a:avLst/>
              <a:gdLst>
                <a:gd name="T0" fmla="*/ 52 w 70"/>
                <a:gd name="T1" fmla="*/ 54 h 54"/>
                <a:gd name="T2" fmla="*/ 70 w 70"/>
                <a:gd name="T3" fmla="*/ 28 h 54"/>
                <a:gd name="T4" fmla="*/ 52 w 70"/>
                <a:gd name="T5" fmla="*/ 28 h 54"/>
                <a:gd name="T6" fmla="*/ 58 w 70"/>
                <a:gd name="T7" fmla="*/ 0 h 54"/>
                <a:gd name="T8" fmla="*/ 28 w 70"/>
                <a:gd name="T9" fmla="*/ 26 h 54"/>
                <a:gd name="T10" fmla="*/ 12 w 70"/>
                <a:gd name="T11" fmla="*/ 11 h 54"/>
                <a:gd name="T12" fmla="*/ 12 w 70"/>
                <a:gd name="T1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54">
                  <a:moveTo>
                    <a:pt x="52" y="54"/>
                  </a:moveTo>
                  <a:cubicBezTo>
                    <a:pt x="70" y="48"/>
                    <a:pt x="70" y="28"/>
                    <a:pt x="70" y="28"/>
                  </a:cubicBezTo>
                  <a:cubicBezTo>
                    <a:pt x="70" y="28"/>
                    <a:pt x="62" y="32"/>
                    <a:pt x="52" y="28"/>
                  </a:cubicBezTo>
                  <a:cubicBezTo>
                    <a:pt x="52" y="28"/>
                    <a:pt x="50" y="12"/>
                    <a:pt x="58" y="0"/>
                  </a:cubicBezTo>
                  <a:cubicBezTo>
                    <a:pt x="46" y="2"/>
                    <a:pt x="26" y="12"/>
                    <a:pt x="28" y="26"/>
                  </a:cubicBezTo>
                  <a:cubicBezTo>
                    <a:pt x="20" y="26"/>
                    <a:pt x="12" y="11"/>
                    <a:pt x="12" y="11"/>
                  </a:cubicBezTo>
                  <a:cubicBezTo>
                    <a:pt x="12" y="11"/>
                    <a:pt x="0" y="30"/>
                    <a:pt x="12" y="40"/>
                  </a:cubicBez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9" name="Rectangle 847">
              <a:extLst>
                <a:ext uri="{FF2B5EF4-FFF2-40B4-BE49-F238E27FC236}">
                  <a16:creationId xmlns:a16="http://schemas.microsoft.com/office/drawing/2014/main" id="{AF551A72-CB05-8498-12B1-9C7E80974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6804" y="2636838"/>
              <a:ext cx="44450" cy="301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Rectangle 848">
              <a:extLst>
                <a:ext uri="{FF2B5EF4-FFF2-40B4-BE49-F238E27FC236}">
                  <a16:creationId xmlns:a16="http://schemas.microsoft.com/office/drawing/2014/main" id="{FCF2B52E-1E1A-6532-D168-695CEBA86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6354" y="2636838"/>
              <a:ext cx="46038" cy="30163"/>
            </a:xfrm>
            <a:prstGeom prst="rect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1" name="Freeform 849">
              <a:extLst>
                <a:ext uri="{FF2B5EF4-FFF2-40B4-BE49-F238E27FC236}">
                  <a16:creationId xmlns:a16="http://schemas.microsoft.com/office/drawing/2014/main" id="{5521D956-A9E3-2037-7E2E-2BB9F7E8E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0929" y="2546351"/>
              <a:ext cx="285750" cy="90488"/>
            </a:xfrm>
            <a:custGeom>
              <a:avLst/>
              <a:gdLst>
                <a:gd name="T0" fmla="*/ 180 w 180"/>
                <a:gd name="T1" fmla="*/ 57 h 57"/>
                <a:gd name="T2" fmla="*/ 180 w 180"/>
                <a:gd name="T3" fmla="*/ 19 h 57"/>
                <a:gd name="T4" fmla="*/ 161 w 180"/>
                <a:gd name="T5" fmla="*/ 0 h 57"/>
                <a:gd name="T6" fmla="*/ 19 w 180"/>
                <a:gd name="T7" fmla="*/ 0 h 57"/>
                <a:gd name="T8" fmla="*/ 0 w 180"/>
                <a:gd name="T9" fmla="*/ 19 h 57"/>
                <a:gd name="T10" fmla="*/ 0 w 180"/>
                <a:gd name="T11" fmla="*/ 57 h 57"/>
                <a:gd name="T12" fmla="*/ 180 w 180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57">
                  <a:moveTo>
                    <a:pt x="180" y="57"/>
                  </a:moveTo>
                  <a:lnTo>
                    <a:pt x="180" y="19"/>
                  </a:lnTo>
                  <a:lnTo>
                    <a:pt x="161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0" y="57"/>
                  </a:lnTo>
                  <a:lnTo>
                    <a:pt x="180" y="57"/>
                  </a:lnTo>
                  <a:close/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850">
              <a:extLst>
                <a:ext uri="{FF2B5EF4-FFF2-40B4-BE49-F238E27FC236}">
                  <a16:creationId xmlns:a16="http://schemas.microsoft.com/office/drawing/2014/main" id="{763DEF76-EF15-D513-D264-14570C1EC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1092" y="2471738"/>
              <a:ext cx="225425" cy="74613"/>
            </a:xfrm>
            <a:custGeom>
              <a:avLst/>
              <a:gdLst>
                <a:gd name="T0" fmla="*/ 123 w 142"/>
                <a:gd name="T1" fmla="*/ 0 h 47"/>
                <a:gd name="T2" fmla="*/ 19 w 142"/>
                <a:gd name="T3" fmla="*/ 0 h 47"/>
                <a:gd name="T4" fmla="*/ 0 w 142"/>
                <a:gd name="T5" fmla="*/ 47 h 47"/>
                <a:gd name="T6" fmla="*/ 142 w 142"/>
                <a:gd name="T7" fmla="*/ 47 h 47"/>
                <a:gd name="T8" fmla="*/ 123 w 14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47">
                  <a:moveTo>
                    <a:pt x="123" y="0"/>
                  </a:moveTo>
                  <a:lnTo>
                    <a:pt x="19" y="0"/>
                  </a:lnTo>
                  <a:lnTo>
                    <a:pt x="0" y="47"/>
                  </a:lnTo>
                  <a:lnTo>
                    <a:pt x="142" y="47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3" name="Line 851">
              <a:extLst>
                <a:ext uri="{FF2B5EF4-FFF2-40B4-BE49-F238E27FC236}">
                  <a16:creationId xmlns:a16="http://schemas.microsoft.com/office/drawing/2014/main" id="{DCD5EE26-95FF-6DBC-C6CD-EB672E6366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220929" y="2606676"/>
              <a:ext cx="68263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Line 852">
              <a:extLst>
                <a:ext uri="{FF2B5EF4-FFF2-40B4-BE49-F238E27FC236}">
                  <a16:creationId xmlns:a16="http://schemas.microsoft.com/office/drawing/2014/main" id="{CD641BEE-5321-F1BB-35B8-A64D7BCA38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438417" y="2606676"/>
              <a:ext cx="68263" cy="0"/>
            </a:xfrm>
            <a:prstGeom prst="line">
              <a:avLst/>
            </a:pr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5" name="Freeform 853">
              <a:extLst>
                <a:ext uri="{FF2B5EF4-FFF2-40B4-BE49-F238E27FC236}">
                  <a16:creationId xmlns:a16="http://schemas.microsoft.com/office/drawing/2014/main" id="{BE665195-BEA3-0EEE-F183-3B1046B90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5704" y="2397126"/>
              <a:ext cx="173038" cy="104775"/>
            </a:xfrm>
            <a:custGeom>
              <a:avLst/>
              <a:gdLst>
                <a:gd name="T0" fmla="*/ 6 w 46"/>
                <a:gd name="T1" fmla="*/ 20 h 28"/>
                <a:gd name="T2" fmla="*/ 2 w 46"/>
                <a:gd name="T3" fmla="*/ 8 h 28"/>
                <a:gd name="T4" fmla="*/ 28 w 46"/>
                <a:gd name="T5" fmla="*/ 0 h 28"/>
                <a:gd name="T6" fmla="*/ 46 w 46"/>
                <a:gd name="T7" fmla="*/ 16 h 28"/>
                <a:gd name="T8" fmla="*/ 36 w 4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8">
                  <a:moveTo>
                    <a:pt x="6" y="20"/>
                  </a:moveTo>
                  <a:cubicBezTo>
                    <a:pt x="6" y="20"/>
                    <a:pt x="0" y="16"/>
                    <a:pt x="2" y="8"/>
                  </a:cubicBezTo>
                  <a:cubicBezTo>
                    <a:pt x="6" y="13"/>
                    <a:pt x="18" y="23"/>
                    <a:pt x="28" y="0"/>
                  </a:cubicBezTo>
                  <a:cubicBezTo>
                    <a:pt x="30" y="16"/>
                    <a:pt x="33" y="19"/>
                    <a:pt x="46" y="16"/>
                  </a:cubicBezTo>
                  <a:cubicBezTo>
                    <a:pt x="36" y="28"/>
                    <a:pt x="36" y="28"/>
                    <a:pt x="36" y="28"/>
                  </a:cubicBezTo>
                </a:path>
              </a:pathLst>
            </a:custGeom>
            <a:noFill/>
            <a:ln w="12700" cap="rnd">
              <a:solidFill>
                <a:srgbClr val="3663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7B5FC14-0158-D7EC-721B-B6A5D25AD6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14712"/>
          <a:stretch/>
        </p:blipFill>
        <p:spPr>
          <a:xfrm>
            <a:off x="548311" y="6416675"/>
            <a:ext cx="772960" cy="252437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379D84D-0B8C-B39D-D4EF-9ABA4DADE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13586" y="6356350"/>
            <a:ext cx="2743200" cy="365125"/>
          </a:xfrm>
        </p:spPr>
        <p:txBody>
          <a:bodyPr/>
          <a:lstStyle/>
          <a:p>
            <a:fld id="{0BA98121-C0ED-4D12-A058-5C29F4DDA5D5}" type="slidenum">
              <a:rPr lang="en-ID" smtClean="0">
                <a:solidFill>
                  <a:schemeClr val="bg1"/>
                </a:solidFill>
              </a:rPr>
              <a:t>9</a:t>
            </a:fld>
            <a:endParaRPr lang="en-ID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366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2</TotalTime>
  <Words>1237</Words>
  <Application>Microsoft Office PowerPoint</Application>
  <PresentationFormat>Widescreen</PresentationFormat>
  <Paragraphs>145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Georgia</vt:lpstr>
      <vt:lpstr>Segoe UI</vt:lpstr>
      <vt:lpstr>Segoe UI Light</vt:lpstr>
      <vt:lpstr>Office Theme</vt:lpstr>
      <vt:lpstr>1_Office Theme</vt:lpstr>
      <vt:lpstr>2_Office Theme</vt:lpstr>
      <vt:lpstr>3_Office Theme</vt:lpstr>
      <vt:lpstr>think-cell Slide</vt:lpstr>
      <vt:lpstr>Car Insurance Powerpoint Template</vt:lpstr>
      <vt:lpstr>PowerPoint Presentation</vt:lpstr>
      <vt:lpstr>PowerPoint Presentation</vt:lpstr>
      <vt:lpstr>PowerPoint Presentation</vt:lpstr>
      <vt:lpstr>Do you need car insurance?</vt:lpstr>
      <vt:lpstr>Service Overview </vt:lpstr>
      <vt:lpstr> Car insurance plan</vt:lpstr>
      <vt:lpstr>Why Choose Our Car Insurance Services?</vt:lpstr>
      <vt:lpstr>Coverage</vt:lpstr>
      <vt:lpstr>Extra Services</vt:lpstr>
      <vt:lpstr>Quote</vt:lpstr>
      <vt:lpstr>Review</vt:lpstr>
      <vt:lpstr>Contac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 Insurance Powerpoint Template</dc:title>
  <dc:creator>it 24slides3</dc:creator>
  <cp:lastModifiedBy>24slides18</cp:lastModifiedBy>
  <cp:revision>11</cp:revision>
  <dcterms:created xsi:type="dcterms:W3CDTF">2022-09-15T02:04:53Z</dcterms:created>
  <dcterms:modified xsi:type="dcterms:W3CDTF">2022-09-19T07:39:03Z</dcterms:modified>
</cp:coreProperties>
</file>